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33" r:id="rId4"/>
    <p:sldMasterId id="2147483648" r:id="rId5"/>
  </p:sldMasterIdLst>
  <p:notesMasterIdLst>
    <p:notesMasterId r:id="rId20"/>
  </p:notesMasterIdLst>
  <p:handoutMasterIdLst>
    <p:handoutMasterId r:id="rId21"/>
  </p:handoutMasterIdLst>
  <p:sldIdLst>
    <p:sldId id="371" r:id="rId6"/>
    <p:sldId id="420" r:id="rId7"/>
    <p:sldId id="401" r:id="rId8"/>
    <p:sldId id="416" r:id="rId9"/>
    <p:sldId id="403" r:id="rId10"/>
    <p:sldId id="404" r:id="rId11"/>
    <p:sldId id="405" r:id="rId12"/>
    <p:sldId id="406" r:id="rId13"/>
    <p:sldId id="408" r:id="rId14"/>
    <p:sldId id="411" r:id="rId15"/>
    <p:sldId id="407" r:id="rId16"/>
    <p:sldId id="412" r:id="rId17"/>
    <p:sldId id="413" r:id="rId18"/>
    <p:sldId id="415" r:id="rId19"/>
  </p:sldIdLst>
  <p:sldSz cx="12190413" cy="6859588"/>
  <p:notesSz cx="6858000" cy="9144000"/>
  <p:custDataLst>
    <p:tags r:id="rId22"/>
  </p:custDataLst>
  <p:defaultTextStyle>
    <a:defPPr>
      <a:defRPr lang="en-US"/>
    </a:defPPr>
    <a:lvl1pPr marL="0" indent="0" algn="l" defTabSz="457189" rtl="0" eaLnBrk="1" fontAlgn="base" hangingPunct="1">
      <a:lnSpc>
        <a:spcPct val="100000"/>
      </a:lnSpc>
      <a:spcBef>
        <a:spcPct val="0"/>
      </a:spcBef>
      <a:spcAft>
        <a:spcPts val="1200"/>
      </a:spcAft>
      <a:buFont typeface="Arial" panose="020B0604020202020204" pitchFamily="34" charset="0"/>
      <a:buChar char="​"/>
      <a:defRPr kern="1200" spc="-50" baseline="0">
        <a:solidFill>
          <a:schemeClr val="tx1"/>
        </a:solidFill>
        <a:latin typeface="Verdana"/>
        <a:ea typeface="Verdana" pitchFamily="34" charset="0"/>
        <a:cs typeface="Verdana" pitchFamily="34" charset="0"/>
      </a:defRPr>
    </a:lvl1pPr>
    <a:lvl2pPr marL="252000" indent="-252000" algn="l" defTabSz="457189" rtl="0" eaLnBrk="1" fontAlgn="base" hangingPunct="1">
      <a:lnSpc>
        <a:spcPct val="100000"/>
      </a:lnSpc>
      <a:spcBef>
        <a:spcPct val="0"/>
      </a:spcBef>
      <a:spcAft>
        <a:spcPts val="1200"/>
      </a:spcAft>
      <a:buFont typeface="Verdana" pitchFamily="34" charset="0"/>
      <a:buChar char="•"/>
      <a:defRPr sz="1800" kern="1200" spc="-50">
        <a:solidFill>
          <a:schemeClr val="tx1"/>
        </a:solidFill>
        <a:latin typeface="Verdana"/>
        <a:ea typeface="Verdana" pitchFamily="34" charset="0"/>
        <a:cs typeface="+mn-cs"/>
      </a:defRPr>
    </a:lvl2pPr>
    <a:lvl3pPr marL="648000" indent="-252000" algn="l" defTabSz="457189" rtl="0" eaLnBrk="1" fontAlgn="base" hangingPunct="1">
      <a:lnSpc>
        <a:spcPct val="100000"/>
      </a:lnSpc>
      <a:spcBef>
        <a:spcPct val="0"/>
      </a:spcBef>
      <a:spcAft>
        <a:spcPts val="1200"/>
      </a:spcAft>
      <a:buFont typeface="Verdana" pitchFamily="34" charset="0"/>
      <a:buChar char="•"/>
      <a:defRPr sz="1600" kern="1200" spc="-50">
        <a:solidFill>
          <a:schemeClr val="tx1"/>
        </a:solidFill>
        <a:latin typeface="Verdana"/>
        <a:ea typeface="Verdana" pitchFamily="34" charset="0"/>
        <a:cs typeface="+mn-cs"/>
      </a:defRPr>
    </a:lvl3pPr>
    <a:lvl4pPr marL="979200" indent="-252000" algn="l" defTabSz="457189" rtl="0" eaLnBrk="1" fontAlgn="base" hangingPunct="1">
      <a:lnSpc>
        <a:spcPct val="100000"/>
      </a:lnSpc>
      <a:spcBef>
        <a:spcPct val="0"/>
      </a:spcBef>
      <a:spcAft>
        <a:spcPts val="1200"/>
      </a:spcAft>
      <a:buFont typeface="Verdana" panose="020B0604030504040204" pitchFamily="34" charset="0"/>
      <a:buChar char="•"/>
      <a:defRPr sz="1400" kern="1200" spc="-50">
        <a:solidFill>
          <a:schemeClr val="tx1"/>
        </a:solidFill>
        <a:latin typeface="Verdana"/>
        <a:ea typeface="Verdana" pitchFamily="34" charset="0"/>
        <a:cs typeface="+mn-cs"/>
      </a:defRPr>
    </a:lvl4pPr>
    <a:lvl5pPr marL="0" indent="0" algn="l" defTabSz="457189" rtl="0" eaLnBrk="1" fontAlgn="base" hangingPunct="1">
      <a:lnSpc>
        <a:spcPct val="80000"/>
      </a:lnSpc>
      <a:spcBef>
        <a:spcPct val="0"/>
      </a:spcBef>
      <a:spcAft>
        <a:spcPts val="1200"/>
      </a:spcAft>
      <a:buFont typeface="Arial" panose="020B0604020202020204" pitchFamily="34" charset="0"/>
      <a:buChar char="​"/>
      <a:defRPr sz="4800" b="1" kern="1200" cap="all" spc="-50" baseline="0">
        <a:solidFill>
          <a:schemeClr val="tx1"/>
        </a:solidFill>
        <a:latin typeface="Verdana"/>
        <a:ea typeface="Verdana" pitchFamily="34" charset="0"/>
        <a:cs typeface="+mn-cs"/>
      </a:defRPr>
    </a:lvl5pPr>
    <a:lvl6pPr marL="0" indent="0" algn="l" defTabSz="457189" rtl="0" eaLnBrk="1" latinLnBrk="0" hangingPunct="1">
      <a:spcBef>
        <a:spcPts val="0"/>
      </a:spcBef>
      <a:spcAft>
        <a:spcPts val="600"/>
      </a:spcAft>
      <a:buClr>
        <a:schemeClr val="tx2"/>
      </a:buClr>
      <a:buFont typeface="Arial" panose="020B0604020202020204" pitchFamily="34" charset="0"/>
      <a:buChar char="​"/>
      <a:defRPr sz="1800" b="1" kern="1200" cap="all" spc="-50" baseline="0">
        <a:solidFill>
          <a:schemeClr val="tx2"/>
        </a:solidFill>
        <a:latin typeface="+mn-lt"/>
        <a:ea typeface="+mn-ea"/>
        <a:cs typeface="+mn-cs"/>
      </a:defRPr>
    </a:lvl6pPr>
    <a:lvl7pPr marL="0" indent="0" algn="l" defTabSz="457189" rtl="0" eaLnBrk="1" latinLnBrk="0" hangingPunct="1">
      <a:spcBef>
        <a:spcPts val="0"/>
      </a:spcBef>
      <a:spcAft>
        <a:spcPts val="1200"/>
      </a:spcAft>
      <a:buFont typeface="Arial" panose="020B0604020202020204" pitchFamily="34" charset="0"/>
      <a:buChar char="​"/>
      <a:defRPr sz="1800" i="1" kern="1200" spc="-50">
        <a:solidFill>
          <a:schemeClr val="bg2"/>
        </a:solidFill>
        <a:latin typeface="+mn-lt"/>
        <a:ea typeface="+mn-ea"/>
        <a:cs typeface="+mn-cs"/>
      </a:defRPr>
    </a:lvl7pPr>
    <a:lvl8pPr marL="648000" indent="-252000" algn="l" defTabSz="457189" rtl="0" eaLnBrk="1" latinLnBrk="0" hangingPunct="1">
      <a:spcBef>
        <a:spcPts val="0"/>
      </a:spcBef>
      <a:spcAft>
        <a:spcPts val="1200"/>
      </a:spcAft>
      <a:buClr>
        <a:schemeClr val="bg2"/>
      </a:buClr>
      <a:buFont typeface="+mj-lt"/>
      <a:buAutoNum type="arabicPeriod"/>
      <a:defRPr sz="1600" kern="1200" spc="-50">
        <a:solidFill>
          <a:schemeClr val="tx1"/>
        </a:solidFill>
        <a:latin typeface="+mn-lt"/>
        <a:ea typeface="+mn-ea"/>
        <a:cs typeface="+mn-cs"/>
      </a:defRPr>
    </a:lvl8pPr>
    <a:lvl9pPr marL="648000" indent="-252000" algn="l" defTabSz="457189" rtl="0" eaLnBrk="1" latinLnBrk="0" hangingPunct="1">
      <a:spcBef>
        <a:spcPts val="0"/>
      </a:spcBef>
      <a:spcAft>
        <a:spcPts val="1200"/>
      </a:spcAft>
      <a:buClr>
        <a:schemeClr val="bg2"/>
      </a:buClr>
      <a:buFont typeface="+mj-lt"/>
      <a:buAutoNum type="alphaUcPeriod"/>
      <a:defRPr sz="1600" kern="1200" spc="-5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59B8950-EC10-FD79-6E67-C6B0E96EDF5D}" name="Lucas Souza" initials="LS" userId="S::luso@ramboll.com::5554fb26-639c-4339-82f4-04b13e152d13" providerId="AD"/>
  <p188:author id="{C178437F-321F-91B3-6D32-C766D8ECDDC3}" name="Karun Gelibolyan" initials="KG" userId="S::KGELI@ramboll.com::72350d7f-e8d1-432e-9613-0c4eb5072892"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F0"/>
    <a:srgbClr val="7EA2BC"/>
    <a:srgbClr val="009DE0"/>
    <a:srgbClr val="3AA551"/>
    <a:srgbClr val="7F7F7F"/>
    <a:srgbClr val="05326E"/>
    <a:srgbClr val="2C7C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5646" autoAdjust="0"/>
  </p:normalViewPr>
  <p:slideViewPr>
    <p:cSldViewPr snapToGrid="0">
      <p:cViewPr varScale="1">
        <p:scale>
          <a:sx n="122" d="100"/>
          <a:sy n="122" d="100"/>
        </p:scale>
        <p:origin x="744" y="200"/>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vl1pPr>
          </a:lstStyle>
          <a:p>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vl1pPr>
          </a:lstStyle>
          <a:p>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8B7588AC-F512-4847-9233-601F4B16DDFE}" type="slidenum">
              <a:rPr lang="en-GB" smtClean="0"/>
              <a:pPr/>
              <a:t>‹#›</a:t>
            </a:fld>
            <a:endParaRPr lang="en-GB"/>
          </a:p>
        </p:txBody>
      </p:sp>
      <p:sp>
        <p:nvSpPr>
          <p:cNvPr id="3" name="Date Placeholder 2">
            <a:extLst>
              <a:ext uri="{FF2B5EF4-FFF2-40B4-BE49-F238E27FC236}">
                <a16:creationId xmlns:a16="http://schemas.microsoft.com/office/drawing/2014/main" id="{E73E8A3B-3A63-46A9-95E1-03CE2FCF9C3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AF6A870-D0BC-44DB-AD81-D5E8B04AE8D4}" type="datetimeFigureOut">
              <a:rPr lang="da-DK" smtClean="0"/>
              <a:t>04-03-2024</a:t>
            </a:fld>
            <a:endParaRPr lang="da-DK"/>
          </a:p>
        </p:txBody>
      </p:sp>
    </p:spTree>
    <p:extLst>
      <p:ext uri="{BB962C8B-B14F-4D97-AF65-F5344CB8AC3E}">
        <p14:creationId xmlns:p14="http://schemas.microsoft.com/office/powerpoint/2010/main" val="125414525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vl1pPr>
          </a:lstStyle>
          <a:p>
            <a:endParaRPr lang="en-GB" noProof="0"/>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fld id="{0F5B7C09-5A60-450F-8B1D-B16CDE8563A2}" type="datetime1">
              <a:rPr lang="en-GB" noProof="0" smtClean="0"/>
              <a:pPr/>
              <a:t>04/03/2024</a:t>
            </a:fld>
            <a:endParaRPr lang="en-GB" noProof="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3175">
            <a:solidFill>
              <a:schemeClr val="accent6"/>
            </a:solidFill>
          </a:ln>
        </p:spPr>
        <p:txBody>
          <a:bodyPr vert="horz" wrap="square" lIns="91440" tIns="45720" rIns="91440" bIns="45720" numCol="1" anchor="ctr" anchorCtr="0" compatLnSpc="1">
            <a:prstTxWarp prst="textNoShape">
              <a:avLst/>
            </a:prstTxWarp>
          </a:bodyPr>
          <a:lstStyle/>
          <a:p>
            <a:pPr lvl="0"/>
            <a:endParaRPr lang="en-GB"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vl1pPr>
          </a:lstStyle>
          <a:p>
            <a:endParaRPr lang="en-GB" noProof="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A1F2F6E2-CA2D-40A7-8BE4-C30E5CF2054D}" type="slidenum">
              <a:rPr lang="en-GB" noProof="0" smtClean="0"/>
              <a:pPr/>
              <a:t>‹#›</a:t>
            </a:fld>
            <a:endParaRPr lang="en-GB" noProof="0"/>
          </a:p>
        </p:txBody>
      </p:sp>
    </p:spTree>
    <p:extLst>
      <p:ext uri="{BB962C8B-B14F-4D97-AF65-F5344CB8AC3E}">
        <p14:creationId xmlns:p14="http://schemas.microsoft.com/office/powerpoint/2010/main" val="3365346767"/>
      </p:ext>
    </p:extLst>
  </p:cSld>
  <p:clrMap bg1="lt1" tx1="dk1" bg2="lt2" tx2="dk2" accent1="accent1" accent2="accent2" accent3="accent3" accent4="accent4" accent5="accent5" accent6="accent6" hlink="hlink" folHlink="folHlink"/>
  <p:hf hdr="0" ftr="0" dt="0"/>
  <p:notesStyle>
    <a:lvl1pPr algn="l" defTabSz="457189" rtl="0" eaLnBrk="0" fontAlgn="base" hangingPunct="0">
      <a:spcBef>
        <a:spcPct val="30000"/>
      </a:spcBef>
      <a:spcAft>
        <a:spcPct val="0"/>
      </a:spcAft>
      <a:defRPr sz="1200" kern="1200">
        <a:solidFill>
          <a:schemeClr val="tx1"/>
        </a:solidFill>
        <a:latin typeface="Verdana" pitchFamily="34" charset="0"/>
        <a:ea typeface="Verdana" pitchFamily="34" charset="0"/>
        <a:cs typeface="Verdana" pitchFamily="34" charset="0"/>
      </a:defRPr>
    </a:lvl1pPr>
    <a:lvl2pPr marL="457189" algn="l" defTabSz="457189" rtl="0" eaLnBrk="0" fontAlgn="base" hangingPunct="0">
      <a:spcBef>
        <a:spcPct val="30000"/>
      </a:spcBef>
      <a:spcAft>
        <a:spcPct val="0"/>
      </a:spcAft>
      <a:defRPr sz="1200" kern="1200">
        <a:solidFill>
          <a:schemeClr val="tx1"/>
        </a:solidFill>
        <a:latin typeface="Verdana" pitchFamily="34" charset="0"/>
        <a:ea typeface="Verdana" pitchFamily="34" charset="0"/>
        <a:cs typeface="+mn-cs"/>
      </a:defRPr>
    </a:lvl2pPr>
    <a:lvl3pPr marL="914377" algn="l" defTabSz="457189" rtl="0" eaLnBrk="0" fontAlgn="base" hangingPunct="0">
      <a:spcBef>
        <a:spcPct val="30000"/>
      </a:spcBef>
      <a:spcAft>
        <a:spcPct val="0"/>
      </a:spcAft>
      <a:defRPr sz="1200" kern="1200">
        <a:solidFill>
          <a:schemeClr val="tx1"/>
        </a:solidFill>
        <a:latin typeface="Verdana" pitchFamily="34" charset="0"/>
        <a:ea typeface="Verdana" pitchFamily="34" charset="0"/>
        <a:cs typeface="+mn-cs"/>
      </a:defRPr>
    </a:lvl3pPr>
    <a:lvl4pPr marL="1371566" algn="l" defTabSz="457189" rtl="0" eaLnBrk="0" fontAlgn="base" hangingPunct="0">
      <a:spcBef>
        <a:spcPct val="30000"/>
      </a:spcBef>
      <a:spcAft>
        <a:spcPct val="0"/>
      </a:spcAft>
      <a:defRPr sz="1200" kern="1200">
        <a:solidFill>
          <a:schemeClr val="tx1"/>
        </a:solidFill>
        <a:latin typeface="Verdana" pitchFamily="34" charset="0"/>
        <a:ea typeface="Verdana" pitchFamily="34" charset="0"/>
        <a:cs typeface="+mn-cs"/>
      </a:defRPr>
    </a:lvl4pPr>
    <a:lvl5pPr marL="1828754" algn="l" defTabSz="457189" rtl="0" eaLnBrk="0" fontAlgn="base" hangingPunct="0">
      <a:spcBef>
        <a:spcPct val="30000"/>
      </a:spcBef>
      <a:spcAft>
        <a:spcPct val="0"/>
      </a:spcAft>
      <a:defRPr sz="1200" kern="1200">
        <a:solidFill>
          <a:schemeClr val="tx1"/>
        </a:solidFill>
        <a:latin typeface="Verdana" pitchFamily="34" charset="0"/>
        <a:ea typeface="Verdana" pitchFamily="34" charset="0"/>
        <a:cs typeface="+mn-cs"/>
      </a:defRPr>
    </a:lvl5pPr>
    <a:lvl6pPr marL="2285943" algn="l" defTabSz="457189" rtl="0" eaLnBrk="1" latinLnBrk="0" hangingPunct="1">
      <a:defRPr sz="1200" kern="1200">
        <a:solidFill>
          <a:schemeClr val="tx1"/>
        </a:solidFill>
        <a:latin typeface="+mn-lt"/>
        <a:ea typeface="+mn-ea"/>
        <a:cs typeface="+mn-cs"/>
      </a:defRPr>
    </a:lvl6pPr>
    <a:lvl7pPr marL="2743131" algn="l" defTabSz="457189" rtl="0" eaLnBrk="1" latinLnBrk="0" hangingPunct="1">
      <a:defRPr sz="1200" kern="1200">
        <a:solidFill>
          <a:schemeClr val="tx1"/>
        </a:solidFill>
        <a:latin typeface="+mn-lt"/>
        <a:ea typeface="+mn-ea"/>
        <a:cs typeface="+mn-cs"/>
      </a:defRPr>
    </a:lvl7pPr>
    <a:lvl8pPr marL="3200320" algn="l" defTabSz="457189" rtl="0" eaLnBrk="1" latinLnBrk="0" hangingPunct="1">
      <a:defRPr sz="1200" kern="1200">
        <a:solidFill>
          <a:schemeClr val="tx1"/>
        </a:solidFill>
        <a:latin typeface="+mn-lt"/>
        <a:ea typeface="+mn-ea"/>
        <a:cs typeface="+mn-cs"/>
      </a:defRPr>
    </a:lvl8pPr>
    <a:lvl9pPr marL="3657509" algn="l" defTabSz="45718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57347" name="Rectangle 3"/>
          <p:cNvSpPr>
            <a:spLocks noGrp="1"/>
          </p:cNvSpPr>
          <p:nvPr>
            <p:ph type="body" idx="1"/>
          </p:nvPr>
        </p:nvSpPr>
        <p:spPr bwMode="auto">
          <a:noFill/>
        </p:spPr>
        <p:txBody>
          <a:bodyPr/>
          <a:lstStyle/>
          <a:p>
            <a:endParaRPr lang="en-GB" noProof="0" dirty="0"/>
          </a:p>
        </p:txBody>
      </p:sp>
    </p:spTree>
    <p:extLst>
      <p:ext uri="{BB962C8B-B14F-4D97-AF65-F5344CB8AC3E}">
        <p14:creationId xmlns:p14="http://schemas.microsoft.com/office/powerpoint/2010/main" val="13660587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14</a:t>
            </a:fld>
            <a:endParaRPr lang="en-GB" noProof="0"/>
          </a:p>
        </p:txBody>
      </p:sp>
    </p:spTree>
    <p:extLst>
      <p:ext uri="{BB962C8B-B14F-4D97-AF65-F5344CB8AC3E}">
        <p14:creationId xmlns:p14="http://schemas.microsoft.com/office/powerpoint/2010/main" val="37351988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4</a:t>
            </a:fld>
            <a:endParaRPr lang="en-GB" noProof="0"/>
          </a:p>
        </p:txBody>
      </p:sp>
    </p:spTree>
    <p:extLst>
      <p:ext uri="{BB962C8B-B14F-4D97-AF65-F5344CB8AC3E}">
        <p14:creationId xmlns:p14="http://schemas.microsoft.com/office/powerpoint/2010/main" val="6739616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7</a:t>
            </a:fld>
            <a:endParaRPr lang="en-GB" noProof="0"/>
          </a:p>
        </p:txBody>
      </p:sp>
    </p:spTree>
    <p:extLst>
      <p:ext uri="{BB962C8B-B14F-4D97-AF65-F5344CB8AC3E}">
        <p14:creationId xmlns:p14="http://schemas.microsoft.com/office/powerpoint/2010/main" val="40326968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8</a:t>
            </a:fld>
            <a:endParaRPr lang="en-GB" noProof="0"/>
          </a:p>
        </p:txBody>
      </p:sp>
    </p:spTree>
    <p:extLst>
      <p:ext uri="{BB962C8B-B14F-4D97-AF65-F5344CB8AC3E}">
        <p14:creationId xmlns:p14="http://schemas.microsoft.com/office/powerpoint/2010/main" val="4258375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9</a:t>
            </a:fld>
            <a:endParaRPr lang="en-GB" noProof="0"/>
          </a:p>
        </p:txBody>
      </p:sp>
    </p:spTree>
    <p:extLst>
      <p:ext uri="{BB962C8B-B14F-4D97-AF65-F5344CB8AC3E}">
        <p14:creationId xmlns:p14="http://schemas.microsoft.com/office/powerpoint/2010/main" val="32733874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10</a:t>
            </a:fld>
            <a:endParaRPr lang="en-GB" noProof="0"/>
          </a:p>
        </p:txBody>
      </p:sp>
    </p:spTree>
    <p:extLst>
      <p:ext uri="{BB962C8B-B14F-4D97-AF65-F5344CB8AC3E}">
        <p14:creationId xmlns:p14="http://schemas.microsoft.com/office/powerpoint/2010/main" val="38590405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11</a:t>
            </a:fld>
            <a:endParaRPr lang="en-GB" noProof="0"/>
          </a:p>
        </p:txBody>
      </p:sp>
    </p:spTree>
    <p:extLst>
      <p:ext uri="{BB962C8B-B14F-4D97-AF65-F5344CB8AC3E}">
        <p14:creationId xmlns:p14="http://schemas.microsoft.com/office/powerpoint/2010/main" val="31048142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12</a:t>
            </a:fld>
            <a:endParaRPr lang="en-GB" noProof="0"/>
          </a:p>
        </p:txBody>
      </p:sp>
    </p:spTree>
    <p:extLst>
      <p:ext uri="{BB962C8B-B14F-4D97-AF65-F5344CB8AC3E}">
        <p14:creationId xmlns:p14="http://schemas.microsoft.com/office/powerpoint/2010/main" val="2316991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13</a:t>
            </a:fld>
            <a:endParaRPr lang="en-GB" noProof="0"/>
          </a:p>
        </p:txBody>
      </p:sp>
    </p:spTree>
    <p:extLst>
      <p:ext uri="{BB962C8B-B14F-4D97-AF65-F5344CB8AC3E}">
        <p14:creationId xmlns:p14="http://schemas.microsoft.com/office/powerpoint/2010/main" val="31272545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Logo_fonden"/>
          <p:cNvSpPr>
            <a:spLocks noChangeAspect="1"/>
          </p:cNvSpPr>
          <p:nvPr userDrawn="1"/>
        </p:nvSpPr>
        <p:spPr>
          <a:xfrm>
            <a:off x="817200" y="6159600"/>
            <a:ext cx="1319093" cy="298800"/>
          </a:xfrm>
          <a:prstGeom prst="rect">
            <a:avLst/>
          </a:prstGeom>
          <a:noFill/>
          <a:ln>
            <a:noFill/>
          </a:ln>
          <a:effectLst/>
          <a:extLst>
            <a:ext uri="{909E8E84-426E-40DD-AFC4-6F175D3DCCD1}">
              <a14:hiddenFill xmlns:a14="http://schemas.microsoft.com/office/drawing/2010/main">
                <a:solidFill>
                  <a:schemeClr val="accent6"/>
                </a:solidFill>
              </a14:hiddenFill>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FLD_PresentationTitle">
            <a:extLst>
              <a:ext uri="{FF2B5EF4-FFF2-40B4-BE49-F238E27FC236}">
                <a16:creationId xmlns:a16="http://schemas.microsoft.com/office/drawing/2014/main" id="{B1DAA5DF-5AA7-49EC-ACBF-10E8A1971277}"/>
              </a:ext>
            </a:extLst>
          </p:cNvPr>
          <p:cNvSpPr>
            <a:spLocks noGrp="1"/>
          </p:cNvSpPr>
          <p:nvPr>
            <p:ph type="ctrTitle" hasCustomPrompt="1"/>
          </p:nvPr>
        </p:nvSpPr>
        <p:spPr>
          <a:xfrm>
            <a:off x="798513" y="409569"/>
            <a:ext cx="9773112" cy="681548"/>
          </a:xfrm>
        </p:spPr>
        <p:txBody>
          <a:bodyPr tIns="0" anchor="t" anchorCtr="0"/>
          <a:lstStyle>
            <a:lvl1pPr>
              <a:defRPr sz="4800" cap="all" spc="-150" baseline="0" smtClean="0">
                <a:solidFill>
                  <a:schemeClr val="tx1"/>
                </a:solidFill>
                <a:latin typeface="Verdana" pitchFamily="34" charset="0"/>
              </a:defRPr>
            </a:lvl1pPr>
          </a:lstStyle>
          <a:p>
            <a:endParaRPr/>
          </a:p>
        </p:txBody>
      </p:sp>
      <p:sp>
        <p:nvSpPr>
          <p:cNvPr id="19" name="FLD_PresentationTitle_2">
            <a:extLst>
              <a:ext uri="{FF2B5EF4-FFF2-40B4-BE49-F238E27FC236}">
                <a16:creationId xmlns:a16="http://schemas.microsoft.com/office/drawing/2014/main" id="{5B27253C-39D7-4448-BD0F-A9FC3677BCBD}"/>
              </a:ext>
            </a:extLst>
          </p:cNvPr>
          <p:cNvSpPr>
            <a:spLocks noGrp="1" noChangeArrowheads="1"/>
          </p:cNvSpPr>
          <p:nvPr>
            <p:ph type="subTitle" sz="quarter" idx="1" hasCustomPrompt="1"/>
          </p:nvPr>
        </p:nvSpPr>
        <p:spPr>
          <a:xfrm>
            <a:off x="798512" y="1139744"/>
            <a:ext cx="9772652" cy="1254562"/>
          </a:xfrm>
        </p:spPr>
        <p:txBody>
          <a:bodyPr lIns="0"/>
          <a:lstStyle>
            <a:lvl1pPr marL="0" indent="0">
              <a:lnSpc>
                <a:spcPct val="100000"/>
              </a:lnSpc>
              <a:spcAft>
                <a:spcPts val="0"/>
              </a:spcAft>
              <a:buFontTx/>
              <a:buNone/>
              <a:defRPr sz="4800" b="1" cap="all" spc="-150" baseline="0" smtClean="0">
                <a:solidFill>
                  <a:schemeClr val="tx2"/>
                </a:solidFill>
                <a:latin typeface="Verdana" pitchFamily="34" charset="0"/>
              </a:defRPr>
            </a:lvl1pPr>
          </a:lstStyle>
          <a:p>
            <a:endParaRP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513" y="5020098"/>
            <a:ext cx="8136879" cy="1084262"/>
          </a:xfrm>
        </p:spPr>
        <p:txBody>
          <a:bodyPr lIns="0"/>
          <a:lstStyle>
            <a:lvl1pPr marL="0" indent="0">
              <a:buFont typeface="Arial" panose="020B0604020202020204" pitchFamily="34" charset="0"/>
              <a:buChar char="​"/>
              <a:defRPr sz="1600"/>
            </a:lvl1pPr>
          </a:lstStyle>
          <a:p>
            <a:pPr lvl="0"/>
            <a:endParaRPr lang="en-GB"/>
          </a:p>
        </p:txBody>
      </p:sp>
      <p:sp>
        <p:nvSpPr>
          <p:cNvPr id="9" name="Slide Number Placeholder 5"/>
          <p:cNvSpPr>
            <a:spLocks noGrp="1"/>
          </p:cNvSpPr>
          <p:nvPr>
            <p:ph type="sldNum" sz="quarter" idx="4"/>
          </p:nvPr>
        </p:nvSpPr>
        <p:spPr>
          <a:xfrm>
            <a:off x="10907200" y="6284782"/>
            <a:ext cx="479938" cy="155611"/>
          </a:xfrm>
          <a:prstGeom prst="rect">
            <a:avLst/>
          </a:prstGeom>
        </p:spPr>
        <p:txBody>
          <a:bodyPr vert="horz" wrap="square" lIns="0" tIns="0" rIns="0" bIns="0" numCol="1" anchor="ctr" anchorCtr="0" compatLnSpc="1">
            <a:prstTxWarp prst="textNoShape">
              <a:avLst/>
            </a:prstTxWarp>
          </a:bodyPr>
          <a:lstStyle>
            <a:lvl1pPr algn="r">
              <a:defRPr sz="800">
                <a:solidFill>
                  <a:schemeClr val="tx1"/>
                </a:solidFill>
              </a:defRPr>
            </a:lvl1pPr>
          </a:lstStyle>
          <a:p>
            <a:fld id="{31421AFA-3AE7-4CEA-BC9B-447859BED57B}" type="slidenum">
              <a:rPr lang="en-GB" smtClean="0"/>
              <a:pPr/>
              <a:t>‹#›</a:t>
            </a:fld>
            <a:endParaRPr lang="en-GB"/>
          </a:p>
        </p:txBody>
      </p:sp>
      <p:sp>
        <p:nvSpPr>
          <p:cNvPr id="11" name="Footer Placeholder 4">
            <a:extLst>
              <a:ext uri="{FF2B5EF4-FFF2-40B4-BE49-F238E27FC236}">
                <a16:creationId xmlns:a16="http://schemas.microsoft.com/office/drawing/2014/main" id="{FC6EA742-E999-426B-9F1C-33524D47AEA4}"/>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2" name="Date_DateCustomA">
            <a:extLst>
              <a:ext uri="{FF2B5EF4-FFF2-40B4-BE49-F238E27FC236}">
                <a16:creationId xmlns:a16="http://schemas.microsoft.com/office/drawing/2014/main" id="{09BA1C59-AB8D-4ACE-A4C9-3A97AB0B83EC}"/>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A13F78D9-42B8-43DD-B9D4-11FA41011F45}" type="datetime1">
              <a:rPr lang="en-GB" smtClean="0"/>
              <a:t>04/03/2024</a:t>
            </a:fld>
            <a:endParaRPr lang="en-GB"/>
          </a:p>
        </p:txBody>
      </p:sp>
    </p:spTree>
    <p:extLst>
      <p:ext uri="{BB962C8B-B14F-4D97-AF65-F5344CB8AC3E}">
        <p14:creationId xmlns:p14="http://schemas.microsoft.com/office/powerpoint/2010/main" val="5428761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GB"/>
              <a:t>Click to edit Master title style</a:t>
            </a:r>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513" y="1645033"/>
            <a:ext cx="5700712"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4">
            <a:extLst>
              <a:ext uri="{FF2B5EF4-FFF2-40B4-BE49-F238E27FC236}">
                <a16:creationId xmlns:a16="http://schemas.microsoft.com/office/drawing/2014/main" id="{414EC495-A6B9-4C60-A011-7047269C9CE9}"/>
              </a:ext>
            </a:extLst>
          </p:cNvPr>
          <p:cNvSpPr>
            <a:spLocks noGrp="1"/>
          </p:cNvSpPr>
          <p:nvPr>
            <p:ph sz="quarter" idx="16"/>
          </p:nvPr>
        </p:nvSpPr>
        <p:spPr>
          <a:xfrm>
            <a:off x="7313612" y="1645032"/>
            <a:ext cx="4073525" cy="406335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B60EC9E1-A6E7-4EDC-A604-820C98771D29}"/>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9" name="Date_DateCustomA">
            <a:extLst>
              <a:ext uri="{FF2B5EF4-FFF2-40B4-BE49-F238E27FC236}">
                <a16:creationId xmlns:a16="http://schemas.microsoft.com/office/drawing/2014/main" id="{73643761-53E5-4729-8F9C-AC57323CEE05}"/>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8620D795-7D6C-4DDD-9364-2C8C35AA87F6}" type="datetime1">
              <a:rPr lang="en-GB" smtClean="0"/>
              <a:t>04/03/2024</a:t>
            </a:fld>
            <a:endParaRPr lang="en-GB"/>
          </a:p>
        </p:txBody>
      </p:sp>
    </p:spTree>
    <p:extLst>
      <p:ext uri="{BB962C8B-B14F-4D97-AF65-F5344CB8AC3E}">
        <p14:creationId xmlns:p14="http://schemas.microsoft.com/office/powerpoint/2010/main" val="41625390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icon (A)">
    <p:spTree>
      <p:nvGrpSpPr>
        <p:cNvPr id="1" name=""/>
        <p:cNvGrpSpPr/>
        <p:nvPr/>
      </p:nvGrpSpPr>
      <p:grpSpPr>
        <a:xfrm>
          <a:off x="0" y="0"/>
          <a:ext cx="0" cy="0"/>
          <a:chOff x="0" y="0"/>
          <a:chExt cx="0" cy="0"/>
        </a:xfrm>
      </p:grpSpPr>
      <p:sp>
        <p:nvSpPr>
          <p:cNvPr id="4" name="Title 1"/>
          <p:cNvSpPr>
            <a:spLocks noGrp="1"/>
          </p:cNvSpPr>
          <p:nvPr>
            <p:ph type="title"/>
          </p:nvPr>
        </p:nvSpPr>
        <p:spPr>
          <a:xfrm>
            <a:off x="798513" y="452543"/>
            <a:ext cx="8958262" cy="748800"/>
          </a:xfrm>
        </p:spPr>
        <p:txBody>
          <a:bodyPr/>
          <a:lstStyle/>
          <a:p>
            <a:r>
              <a:rPr lang="en-GB"/>
              <a:t>Click to edit Master title style</a:t>
            </a:r>
          </a:p>
        </p:txBody>
      </p:sp>
      <p:sp>
        <p:nvSpPr>
          <p:cNvPr id="3" name="Content Placeholder 2"/>
          <p:cNvSpPr>
            <a:spLocks noGrp="1"/>
          </p:cNvSpPr>
          <p:nvPr>
            <p:ph idx="1" hasCustomPrompt="1"/>
          </p:nvPr>
        </p:nvSpPr>
        <p:spPr>
          <a:xfrm>
            <a:off x="798512" y="1645033"/>
            <a:ext cx="10588625"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Picture Placeholder 3">
            <a:extLst>
              <a:ext uri="{FF2B5EF4-FFF2-40B4-BE49-F238E27FC236}">
                <a16:creationId xmlns:a16="http://schemas.microsoft.com/office/drawing/2014/main" id="{6FB39600-48A6-438C-ACEE-E7C3FBF9C3A2}"/>
              </a:ext>
            </a:extLst>
          </p:cNvPr>
          <p:cNvSpPr>
            <a:spLocks noGrp="1"/>
          </p:cNvSpPr>
          <p:nvPr>
            <p:ph type="pic" sz="quarter" idx="11" hasCustomPrompt="1"/>
          </p:nvPr>
        </p:nvSpPr>
        <p:spPr>
          <a:xfrm>
            <a:off x="10571163" y="452544"/>
            <a:ext cx="800964" cy="800964"/>
          </a:xfrm>
          <a:noFill/>
          <a:ln>
            <a:noFill/>
          </a:ln>
        </p:spPr>
        <p:txBody>
          <a:bodyPr lIns="38399" tIns="0" anchor="t" anchorCtr="0"/>
          <a:lstStyle>
            <a:lvl1pPr marL="0" indent="0">
              <a:buNone/>
              <a:defRPr sz="1800">
                <a:solidFill>
                  <a:schemeClr val="tx1"/>
                </a:solidFill>
              </a:defRPr>
            </a:lvl1pPr>
          </a:lstStyle>
          <a:p>
            <a:r>
              <a:rPr lang="en-GB" noProof="0"/>
              <a:t>icon</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C4DE7E55-1B3D-4B43-B1B5-DE5E4FAB9891}"/>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8" name="Date_DateCustomA">
            <a:extLst>
              <a:ext uri="{FF2B5EF4-FFF2-40B4-BE49-F238E27FC236}">
                <a16:creationId xmlns:a16="http://schemas.microsoft.com/office/drawing/2014/main" id="{F5D459F2-4C14-4DC3-8A9D-B1E9DF21E4CF}"/>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9B90C0BA-1BD5-469D-8018-C447C1EB2A93}" type="datetime1">
              <a:rPr lang="en-GB" smtClean="0"/>
              <a:t>04/03/2024</a:t>
            </a:fld>
            <a:endParaRPr lang="en-GB"/>
          </a:p>
        </p:txBody>
      </p:sp>
    </p:spTree>
    <p:extLst>
      <p:ext uri="{BB962C8B-B14F-4D97-AF65-F5344CB8AC3E}">
        <p14:creationId xmlns:p14="http://schemas.microsoft.com/office/powerpoint/2010/main" val="29991854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icon (B)">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GB"/>
              <a:t>Click to edit Master title style</a:t>
            </a:r>
          </a:p>
        </p:txBody>
      </p:sp>
      <p:sp>
        <p:nvSpPr>
          <p:cNvPr id="10" name="Content Placeholder 2">
            <a:extLst>
              <a:ext uri="{FF2B5EF4-FFF2-40B4-BE49-F238E27FC236}">
                <a16:creationId xmlns:a16="http://schemas.microsoft.com/office/drawing/2014/main" id="{F487125B-AD53-4CA5-922E-72C96A67D7AA}"/>
              </a:ext>
            </a:extLst>
          </p:cNvPr>
          <p:cNvSpPr>
            <a:spLocks noGrp="1"/>
          </p:cNvSpPr>
          <p:nvPr>
            <p:ph idx="12" hasCustomPrompt="1"/>
          </p:nvPr>
        </p:nvSpPr>
        <p:spPr>
          <a:xfrm>
            <a:off x="798513" y="1645033"/>
            <a:ext cx="8958262"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Picture Placeholder 3">
            <a:extLst>
              <a:ext uri="{FF2B5EF4-FFF2-40B4-BE49-F238E27FC236}">
                <a16:creationId xmlns:a16="http://schemas.microsoft.com/office/drawing/2014/main" id="{9CFFD8C0-0E93-4388-A9E5-6DB36C4D48D1}"/>
              </a:ext>
            </a:extLst>
          </p:cNvPr>
          <p:cNvSpPr>
            <a:spLocks noGrp="1"/>
          </p:cNvSpPr>
          <p:nvPr>
            <p:ph type="pic" sz="quarter" idx="11" hasCustomPrompt="1"/>
          </p:nvPr>
        </p:nvSpPr>
        <p:spPr>
          <a:xfrm>
            <a:off x="10571162" y="1645033"/>
            <a:ext cx="818165" cy="818165"/>
          </a:xfrm>
          <a:noFill/>
          <a:ln>
            <a:noFill/>
          </a:ln>
        </p:spPr>
        <p:txBody>
          <a:bodyPr lIns="38399" tIns="0" anchor="t" anchorCtr="0"/>
          <a:lstStyle>
            <a:lvl1pPr marL="0" indent="0">
              <a:buNone/>
              <a:defRPr sz="1800">
                <a:solidFill>
                  <a:schemeClr val="tx1"/>
                </a:solidFill>
              </a:defRPr>
            </a:lvl1pPr>
          </a:lstStyle>
          <a:p>
            <a:r>
              <a:rPr lang="en-GB" noProof="0"/>
              <a:t>icon</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E31502FD-B05E-464F-8932-42D027579D97}"/>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9" name="Date_DateCustomA">
            <a:extLst>
              <a:ext uri="{FF2B5EF4-FFF2-40B4-BE49-F238E27FC236}">
                <a16:creationId xmlns:a16="http://schemas.microsoft.com/office/drawing/2014/main" id="{AA65EC4C-43E8-483C-B54B-30D5535BB4C8}"/>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02DADF78-B3EF-4042-B2F9-5AAFBCE5A22E}" type="datetime1">
              <a:rPr lang="en-GB" smtClean="0"/>
              <a:t>04/03/2024</a:t>
            </a:fld>
            <a:endParaRPr lang="en-GB"/>
          </a:p>
        </p:txBody>
      </p:sp>
    </p:spTree>
    <p:extLst>
      <p:ext uri="{BB962C8B-B14F-4D97-AF65-F5344CB8AC3E}">
        <p14:creationId xmlns:p14="http://schemas.microsoft.com/office/powerpoint/2010/main" val="37713214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illustration (A)">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GB"/>
              <a:t>Click to edit Master title style</a:t>
            </a:r>
          </a:p>
        </p:txBody>
      </p:sp>
      <p:sp>
        <p:nvSpPr>
          <p:cNvPr id="10" name="Content Placeholder 2">
            <a:extLst>
              <a:ext uri="{FF2B5EF4-FFF2-40B4-BE49-F238E27FC236}">
                <a16:creationId xmlns:a16="http://schemas.microsoft.com/office/drawing/2014/main" id="{F487125B-AD53-4CA5-922E-72C96A67D7AA}"/>
              </a:ext>
            </a:extLst>
          </p:cNvPr>
          <p:cNvSpPr>
            <a:spLocks noGrp="1"/>
          </p:cNvSpPr>
          <p:nvPr>
            <p:ph idx="12" hasCustomPrompt="1"/>
          </p:nvPr>
        </p:nvSpPr>
        <p:spPr>
          <a:xfrm>
            <a:off x="798513" y="1645033"/>
            <a:ext cx="6515100"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Picture Placeholder 3">
            <a:extLst>
              <a:ext uri="{FF2B5EF4-FFF2-40B4-BE49-F238E27FC236}">
                <a16:creationId xmlns:a16="http://schemas.microsoft.com/office/drawing/2014/main" id="{9CFFD8C0-0E93-4388-A9E5-6DB36C4D48D1}"/>
              </a:ext>
            </a:extLst>
          </p:cNvPr>
          <p:cNvSpPr>
            <a:spLocks noGrp="1"/>
          </p:cNvSpPr>
          <p:nvPr>
            <p:ph type="pic" sz="quarter" idx="11" hasCustomPrompt="1"/>
          </p:nvPr>
        </p:nvSpPr>
        <p:spPr>
          <a:xfrm>
            <a:off x="8128000" y="1645033"/>
            <a:ext cx="3259138" cy="3240691"/>
          </a:xfrm>
          <a:noFill/>
          <a:ln>
            <a:noFill/>
          </a:ln>
        </p:spPr>
        <p:txBody>
          <a:bodyPr lIns="38399" tIns="0" anchor="t" anchorCtr="0"/>
          <a:lstStyle>
            <a:lvl1pPr marL="0" indent="0">
              <a:buNone/>
              <a:defRPr sz="1800">
                <a:solidFill>
                  <a:schemeClr val="tx1"/>
                </a:solidFill>
              </a:defRPr>
            </a:lvl1pPr>
          </a:lstStyle>
          <a:p>
            <a:r>
              <a:rPr lang="en-GB">
                <a:effectLst/>
              </a:rPr>
              <a:t>illustration</a:t>
            </a:r>
            <a:endParaRPr lang="en-GB" noProof="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FB97A6BE-821A-4BF5-AFE7-9A048351C6D9}"/>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9" name="Date_DateCustomA">
            <a:extLst>
              <a:ext uri="{FF2B5EF4-FFF2-40B4-BE49-F238E27FC236}">
                <a16:creationId xmlns:a16="http://schemas.microsoft.com/office/drawing/2014/main" id="{11815BEB-2C63-4CBF-9795-6F15022666B4}"/>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8BA51A42-5836-428D-B66B-B65A92E2CCAA}" type="datetime1">
              <a:rPr lang="en-GB" smtClean="0"/>
              <a:t>04/03/2024</a:t>
            </a:fld>
            <a:endParaRPr lang="en-GB"/>
          </a:p>
        </p:txBody>
      </p:sp>
    </p:spTree>
    <p:extLst>
      <p:ext uri="{BB962C8B-B14F-4D97-AF65-F5344CB8AC3E}">
        <p14:creationId xmlns:p14="http://schemas.microsoft.com/office/powerpoint/2010/main" val="4745376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and  illustration (B)">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GB"/>
              <a:t>Click to edit Master title style</a:t>
            </a:r>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513" y="1645033"/>
            <a:ext cx="5700712"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Picture Placeholder 4">
            <a:extLst>
              <a:ext uri="{FF2B5EF4-FFF2-40B4-BE49-F238E27FC236}">
                <a16:creationId xmlns:a16="http://schemas.microsoft.com/office/drawing/2014/main" id="{286587FC-F18B-4FBE-8CD2-663B9BA8C734}"/>
              </a:ext>
            </a:extLst>
          </p:cNvPr>
          <p:cNvSpPr>
            <a:spLocks noGrp="1"/>
          </p:cNvSpPr>
          <p:nvPr>
            <p:ph type="pic" sz="quarter" idx="14" hasCustomPrompt="1"/>
          </p:nvPr>
        </p:nvSpPr>
        <p:spPr>
          <a:xfrm>
            <a:off x="7313613" y="1644649"/>
            <a:ext cx="4073525" cy="4063738"/>
          </a:xfrm>
        </p:spPr>
        <p:txBody>
          <a:bodyPr/>
          <a:lstStyle>
            <a:lvl1pPr marL="0" indent="0">
              <a:buNone/>
              <a:defRPr/>
            </a:lvl1pPr>
          </a:lstStyle>
          <a:p>
            <a:r>
              <a:rPr lang="en-GB">
                <a:effectLst/>
              </a:rPr>
              <a:t>illustration</a:t>
            </a:r>
            <a:endParaRPr lang="en-GB" noProof="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9B89233D-8149-4491-95B2-DE11051C8619}"/>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8" name="Date_DateCustomA">
            <a:extLst>
              <a:ext uri="{FF2B5EF4-FFF2-40B4-BE49-F238E27FC236}">
                <a16:creationId xmlns:a16="http://schemas.microsoft.com/office/drawing/2014/main" id="{D2C9554E-F561-4DDA-B278-92702108D9BF}"/>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136937CD-C8B6-42FA-9EC6-EF300AFFE646}" type="datetime1">
              <a:rPr lang="en-GB" smtClean="0"/>
              <a:t>04/03/2024</a:t>
            </a:fld>
            <a:endParaRPr lang="en-GB"/>
          </a:p>
        </p:txBody>
      </p:sp>
    </p:spTree>
    <p:extLst>
      <p:ext uri="{BB962C8B-B14F-4D97-AF65-F5344CB8AC3E}">
        <p14:creationId xmlns:p14="http://schemas.microsoft.com/office/powerpoint/2010/main" val="1143756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and fact text">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GB"/>
              <a:t>Click to edit Master title style</a:t>
            </a:r>
          </a:p>
        </p:txBody>
      </p:sp>
      <p:sp>
        <p:nvSpPr>
          <p:cNvPr id="11" name="Content Placeholder 2">
            <a:extLst>
              <a:ext uri="{FF2B5EF4-FFF2-40B4-BE49-F238E27FC236}">
                <a16:creationId xmlns:a16="http://schemas.microsoft.com/office/drawing/2014/main" id="{BB9C9E16-4544-49A4-A136-929E64BE7AAF}"/>
              </a:ext>
            </a:extLst>
          </p:cNvPr>
          <p:cNvSpPr>
            <a:spLocks noGrp="1"/>
          </p:cNvSpPr>
          <p:nvPr>
            <p:ph idx="12" hasCustomPrompt="1"/>
          </p:nvPr>
        </p:nvSpPr>
        <p:spPr>
          <a:xfrm>
            <a:off x="798513" y="1645033"/>
            <a:ext cx="7329487"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Placeholder 6">
            <a:extLst>
              <a:ext uri="{FF2B5EF4-FFF2-40B4-BE49-F238E27FC236}">
                <a16:creationId xmlns:a16="http://schemas.microsoft.com/office/drawing/2014/main" id="{89007D2D-A158-459C-BE2E-0A1D348DA7C9}"/>
              </a:ext>
            </a:extLst>
          </p:cNvPr>
          <p:cNvSpPr>
            <a:spLocks noGrp="1"/>
          </p:cNvSpPr>
          <p:nvPr>
            <p:ph type="body" sz="quarter" idx="15" hasCustomPrompt="1"/>
          </p:nvPr>
        </p:nvSpPr>
        <p:spPr>
          <a:xfrm>
            <a:off x="8942387" y="1644771"/>
            <a:ext cx="2444751" cy="4063616"/>
          </a:xfrm>
        </p:spPr>
        <p:txBody>
          <a:bodyPr lIns="0"/>
          <a:lstStyle>
            <a:lvl1pPr marL="0" indent="0">
              <a:lnSpc>
                <a:spcPct val="80000"/>
              </a:lnSpc>
              <a:spcAft>
                <a:spcPts val="1200"/>
              </a:spcAft>
              <a:buFont typeface="Arial" panose="020B0604020202020204" pitchFamily="34" charset="0"/>
              <a:buChar char="​"/>
              <a:defRPr sz="4800" b="1" cap="all" spc="-150" baseline="0">
                <a:solidFill>
                  <a:schemeClr val="tx2"/>
                </a:solidFill>
              </a:defRPr>
            </a:lvl1pPr>
            <a:lvl2pPr marL="0" indent="0">
              <a:lnSpc>
                <a:spcPct val="100000"/>
              </a:lnSpc>
              <a:buFont typeface="Arial" panose="020B0604020202020204" pitchFamily="34" charset="0"/>
              <a:buChar char="​"/>
              <a:defRPr sz="1600" baseline="0">
                <a:solidFill>
                  <a:schemeClr val="tx2"/>
                </a:solidFill>
              </a:defRPr>
            </a:lvl2pPr>
            <a:lvl3pPr marL="252000" indent="-252000">
              <a:lnSpc>
                <a:spcPct val="100000"/>
              </a:lnSpc>
              <a:buFont typeface="Verdana" panose="020B0604030504040204" pitchFamily="34" charset="0"/>
              <a:buChar char="•"/>
              <a:defRPr sz="1600" i="0" baseline="0">
                <a:solidFill>
                  <a:schemeClr val="tx2"/>
                </a:solidFill>
              </a:defRPr>
            </a:lvl3pPr>
            <a:lvl4pPr marL="271463" indent="-271463">
              <a:lnSpc>
                <a:spcPct val="100000"/>
              </a:lnSpc>
              <a:buFont typeface="+mj-lt"/>
              <a:buAutoNum type="arabicPeriod"/>
              <a:defRPr sz="1600">
                <a:solidFill>
                  <a:schemeClr val="tx2"/>
                </a:solidFill>
              </a:defRPr>
            </a:lvl4pPr>
            <a:lvl5pPr marL="271463" indent="-271463">
              <a:lnSpc>
                <a:spcPct val="100000"/>
              </a:lnSpc>
              <a:buFont typeface="+mj-lt"/>
              <a:buAutoNum type="alphaUcPeriod"/>
              <a:defRPr sz="1600" b="0" cap="none" spc="-50" baseline="0">
                <a:solidFill>
                  <a:schemeClr val="tx2"/>
                </a:solidFill>
              </a:defRPr>
            </a:lvl5pPr>
            <a:lvl6pPr>
              <a:defRPr sz="1600"/>
            </a:lvl6pPr>
            <a:lvl7pPr>
              <a:defRPr sz="1600">
                <a:solidFill>
                  <a:schemeClr val="tx2"/>
                </a:solidFill>
              </a:defRPr>
            </a:lvl7pPr>
            <a:lvl8pPr marL="271463" indent="-271463">
              <a:buClr>
                <a:schemeClr val="tx2"/>
              </a:buClr>
              <a:buFont typeface="+mj-lt"/>
              <a:buAutoNum type="arabicParenR"/>
              <a:defRPr sz="1000">
                <a:solidFill>
                  <a:schemeClr val="tx2"/>
                </a:solidFill>
              </a:defRPr>
            </a:lvl8pPr>
            <a:lvl9pPr marL="271463" indent="-271463">
              <a:buClr>
                <a:schemeClr val="tx2"/>
              </a:buClr>
              <a:buFont typeface="+mj-lt"/>
              <a:buAutoNum type="alphaLcParenR"/>
              <a:defRPr sz="1000">
                <a:solidFill>
                  <a:schemeClr val="tx2"/>
                </a:solidFill>
              </a:defRPr>
            </a:lvl9pPr>
          </a:lstStyle>
          <a:p>
            <a:pPr lvl="0"/>
            <a:r>
              <a:rPr lang="en-GB"/>
              <a:t>12,3</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3" name="Text Placeholder 6">
            <a:extLst>
              <a:ext uri="{FF2B5EF4-FFF2-40B4-BE49-F238E27FC236}">
                <a16:creationId xmlns:a16="http://schemas.microsoft.com/office/drawing/2014/main" id="{99C5C721-7970-4C21-B42B-33753616C1B3}"/>
              </a:ext>
            </a:extLst>
          </p:cNvPr>
          <p:cNvSpPr>
            <a:spLocks noGrp="1"/>
          </p:cNvSpPr>
          <p:nvPr>
            <p:ph type="body" sz="quarter" idx="14" hasCustomPrompt="1"/>
          </p:nvPr>
        </p:nvSpPr>
        <p:spPr>
          <a:xfrm>
            <a:off x="8942388" y="4992414"/>
            <a:ext cx="2444750" cy="715973"/>
          </a:xfrm>
        </p:spPr>
        <p:txBody>
          <a:bodyPr lIns="0" anchor="b" anchorCtr="0"/>
          <a:lstStyle>
            <a:lvl1pPr marL="228600" indent="-228600">
              <a:lnSpc>
                <a:spcPct val="80000"/>
              </a:lnSpc>
              <a:spcAft>
                <a:spcPts val="1200"/>
              </a:spcAft>
              <a:buFont typeface="+mj-lt"/>
              <a:buAutoNum type="arabicParenR"/>
              <a:defRPr sz="1000" b="0" i="1" cap="none" spc="0" baseline="0">
                <a:solidFill>
                  <a:schemeClr val="bg2"/>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Not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grpSp>
        <p:nvGrpSpPr>
          <p:cNvPr id="3" name="Group 2">
            <a:extLst>
              <a:ext uri="{FF2B5EF4-FFF2-40B4-BE49-F238E27FC236}">
                <a16:creationId xmlns:a16="http://schemas.microsoft.com/office/drawing/2014/main" id="{CBDD567F-EFA3-4304-9F2D-5128B34EFFF1}"/>
              </a:ext>
            </a:extLst>
          </p:cNvPr>
          <p:cNvGrpSpPr/>
          <p:nvPr userDrawn="1"/>
        </p:nvGrpSpPr>
        <p:grpSpPr>
          <a:xfrm>
            <a:off x="12339858" y="1634370"/>
            <a:ext cx="1796791" cy="2907588"/>
            <a:chOff x="12403271" y="-1"/>
            <a:chExt cx="1796791" cy="2907588"/>
          </a:xfrm>
        </p:grpSpPr>
        <p:pic>
          <p:nvPicPr>
            <p:cNvPr id="9" name="Picture 8">
              <a:extLst>
                <a:ext uri="{FF2B5EF4-FFF2-40B4-BE49-F238E27FC236}">
                  <a16:creationId xmlns:a16="http://schemas.microsoft.com/office/drawing/2014/main" id="{760E582F-46F7-4DF2-ABCB-E07E85419FF4}"/>
                </a:ext>
              </a:extLst>
            </p:cNvPr>
            <p:cNvPicPr>
              <a:picLocks noChangeAspect="1"/>
            </p:cNvPicPr>
            <p:nvPr userDrawn="1"/>
          </p:nvPicPr>
          <p:blipFill>
            <a:blip r:embed="rId2"/>
            <a:stretch>
              <a:fillRect/>
            </a:stretch>
          </p:blipFill>
          <p:spPr>
            <a:xfrm>
              <a:off x="12414617" y="1122667"/>
              <a:ext cx="1261627" cy="1565633"/>
            </a:xfrm>
            <a:prstGeom prst="rect">
              <a:avLst/>
            </a:prstGeom>
          </p:spPr>
        </p:pic>
        <p:grpSp>
          <p:nvGrpSpPr>
            <p:cNvPr id="12" name="Group 11">
              <a:extLst>
                <a:ext uri="{FF2B5EF4-FFF2-40B4-BE49-F238E27FC236}">
                  <a16:creationId xmlns:a16="http://schemas.microsoft.com/office/drawing/2014/main" id="{FA367DCD-123C-45F4-87EB-1586FA603E3A}"/>
                </a:ext>
              </a:extLst>
            </p:cNvPr>
            <p:cNvGrpSpPr/>
            <p:nvPr userDrawn="1"/>
          </p:nvGrpSpPr>
          <p:grpSpPr>
            <a:xfrm>
              <a:off x="12403271" y="-1"/>
              <a:ext cx="1796791" cy="2907588"/>
              <a:chOff x="9009867" y="1645032"/>
              <a:chExt cx="2365739" cy="3828268"/>
            </a:xfrm>
          </p:grpSpPr>
          <p:pic>
            <p:nvPicPr>
              <p:cNvPr id="15" name="Picture 14">
                <a:extLst>
                  <a:ext uri="{FF2B5EF4-FFF2-40B4-BE49-F238E27FC236}">
                    <a16:creationId xmlns:a16="http://schemas.microsoft.com/office/drawing/2014/main" id="{132FA97E-008F-4B07-B688-A7B22404D82A}"/>
                  </a:ext>
                </a:extLst>
              </p:cNvPr>
              <p:cNvPicPr>
                <a:picLocks noChangeAspect="1"/>
              </p:cNvPicPr>
              <p:nvPr/>
            </p:nvPicPr>
            <p:blipFill>
              <a:blip r:embed="rId3"/>
              <a:stretch>
                <a:fillRect/>
              </a:stretch>
            </p:blipFill>
            <p:spPr>
              <a:xfrm>
                <a:off x="9182748" y="1852126"/>
                <a:ext cx="599367" cy="280555"/>
              </a:xfrm>
              <a:prstGeom prst="rect">
                <a:avLst/>
              </a:prstGeom>
            </p:spPr>
          </p:pic>
          <p:sp>
            <p:nvSpPr>
              <p:cNvPr id="16" name="TextBox 15">
                <a:extLst>
                  <a:ext uri="{FF2B5EF4-FFF2-40B4-BE49-F238E27FC236}">
                    <a16:creationId xmlns:a16="http://schemas.microsoft.com/office/drawing/2014/main" id="{8F49FA4C-A0C7-484D-9CD0-A2B1528B3A2E}"/>
                  </a:ext>
                </a:extLst>
              </p:cNvPr>
              <p:cNvSpPr txBox="1"/>
              <p:nvPr/>
            </p:nvSpPr>
            <p:spPr bwMode="auto">
              <a:xfrm>
                <a:off x="9199275" y="2239970"/>
                <a:ext cx="1887588" cy="85099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12700" marR="0" indent="-25400" algn="l" defTabSz="457200" rtl="0" eaLnBrk="0" fontAlgn="base" latinLnBrk="0" hangingPunct="0">
                  <a:spcBef>
                    <a:spcPct val="0"/>
                  </a:spcBef>
                  <a:spcAft>
                    <a:spcPts val="600"/>
                  </a:spcAft>
                  <a:buClrTx/>
                  <a:buSzTx/>
                  <a:tabLst/>
                </a:pPr>
                <a: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17" name="Rectangle: Rounded Corners 16">
                <a:extLst>
                  <a:ext uri="{FF2B5EF4-FFF2-40B4-BE49-F238E27FC236}">
                    <a16:creationId xmlns:a16="http://schemas.microsoft.com/office/drawing/2014/main" id="{93B8FE7B-9EF6-429C-AC7B-79E85DFB481D}"/>
                  </a:ext>
                </a:extLst>
              </p:cNvPr>
              <p:cNvSpPr/>
              <p:nvPr/>
            </p:nvSpPr>
            <p:spPr>
              <a:xfrm>
                <a:off x="9009867" y="1645032"/>
                <a:ext cx="2365739" cy="3828268"/>
              </a:xfrm>
              <a:prstGeom prst="roundRect">
                <a:avLst>
                  <a:gd name="adj" fmla="val 2970"/>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a:solidFill>
                    <a:schemeClr val="accent3"/>
                  </a:solidFill>
                </a:endParaRPr>
              </a:p>
            </p:txBody>
          </p:sp>
        </p:grpSp>
      </p:grpSp>
      <p:sp>
        <p:nvSpPr>
          <p:cNvPr id="14" name="Footer Placeholder 4">
            <a:extLst>
              <a:ext uri="{FF2B5EF4-FFF2-40B4-BE49-F238E27FC236}">
                <a16:creationId xmlns:a16="http://schemas.microsoft.com/office/drawing/2014/main" id="{67D61A51-31AF-4082-AFF9-2D4AE9DB7C87}"/>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9" name="Date_DateCustomA">
            <a:extLst>
              <a:ext uri="{FF2B5EF4-FFF2-40B4-BE49-F238E27FC236}">
                <a16:creationId xmlns:a16="http://schemas.microsoft.com/office/drawing/2014/main" id="{8BB7FA2D-0C66-4D42-8CC8-567BD958137F}"/>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6E10093C-62DA-496A-9DBF-6F8D26F3BF2E}" type="datetime1">
              <a:rPr lang="en-GB" smtClean="0"/>
              <a:t>04/03/2024</a:t>
            </a:fld>
            <a:endParaRPr lang="en-GB"/>
          </a:p>
        </p:txBody>
      </p:sp>
    </p:spTree>
    <p:extLst>
      <p:ext uri="{BB962C8B-B14F-4D97-AF65-F5344CB8AC3E}">
        <p14:creationId xmlns:p14="http://schemas.microsoft.com/office/powerpoint/2010/main" val="35112220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and two fact texts">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GB"/>
              <a:t>Click to edit Master title style</a:t>
            </a:r>
          </a:p>
        </p:txBody>
      </p:sp>
      <p:sp>
        <p:nvSpPr>
          <p:cNvPr id="11" name="Content Placeholder 2">
            <a:extLst>
              <a:ext uri="{FF2B5EF4-FFF2-40B4-BE49-F238E27FC236}">
                <a16:creationId xmlns:a16="http://schemas.microsoft.com/office/drawing/2014/main" id="{BB9C9E16-4544-49A4-A136-929E64BE7AAF}"/>
              </a:ext>
            </a:extLst>
          </p:cNvPr>
          <p:cNvSpPr>
            <a:spLocks noGrp="1"/>
          </p:cNvSpPr>
          <p:nvPr>
            <p:ph idx="12" hasCustomPrompt="1"/>
          </p:nvPr>
        </p:nvSpPr>
        <p:spPr>
          <a:xfrm>
            <a:off x="798514" y="1645033"/>
            <a:ext cx="4071936"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Placeholder 6">
            <a:extLst>
              <a:ext uri="{FF2B5EF4-FFF2-40B4-BE49-F238E27FC236}">
                <a16:creationId xmlns:a16="http://schemas.microsoft.com/office/drawing/2014/main" id="{559CAE46-C6D8-48BD-A372-1CDE93E9CCA9}"/>
              </a:ext>
            </a:extLst>
          </p:cNvPr>
          <p:cNvSpPr>
            <a:spLocks noGrp="1"/>
          </p:cNvSpPr>
          <p:nvPr>
            <p:ph type="body" sz="quarter" idx="13" hasCustomPrompt="1"/>
          </p:nvPr>
        </p:nvSpPr>
        <p:spPr>
          <a:xfrm>
            <a:off x="5684838" y="1644771"/>
            <a:ext cx="2443161" cy="4063616"/>
          </a:xfrm>
        </p:spPr>
        <p:txBody>
          <a:bodyPr lIns="0"/>
          <a:lstStyle>
            <a:lvl1pPr marL="0" indent="0">
              <a:lnSpc>
                <a:spcPct val="80000"/>
              </a:lnSpc>
              <a:spcAft>
                <a:spcPts val="1200"/>
              </a:spcAft>
              <a:buFont typeface="Arial" panose="020B0604020202020204" pitchFamily="34" charset="0"/>
              <a:buChar char="​"/>
              <a:defRPr sz="4800" b="1" cap="all" spc="-150" baseline="0">
                <a:solidFill>
                  <a:schemeClr val="tx2"/>
                </a:solidFill>
              </a:defRPr>
            </a:lvl1pPr>
            <a:lvl2pPr marL="0" indent="0">
              <a:lnSpc>
                <a:spcPct val="100000"/>
              </a:lnSpc>
              <a:buFont typeface="Arial" panose="020B0604020202020204" pitchFamily="34" charset="0"/>
              <a:buChar char="​"/>
              <a:defRPr sz="1600" baseline="0">
                <a:solidFill>
                  <a:schemeClr val="tx2"/>
                </a:solidFill>
              </a:defRPr>
            </a:lvl2pPr>
            <a:lvl3pPr marL="252000" indent="-252000">
              <a:lnSpc>
                <a:spcPct val="100000"/>
              </a:lnSpc>
              <a:buFont typeface="Verdana" panose="020B0604030504040204" pitchFamily="34" charset="0"/>
              <a:buChar char="•"/>
              <a:defRPr sz="1600" i="0" baseline="0">
                <a:solidFill>
                  <a:schemeClr val="tx2"/>
                </a:solidFill>
              </a:defRPr>
            </a:lvl3pPr>
            <a:lvl4pPr marL="271463" indent="-271463">
              <a:lnSpc>
                <a:spcPct val="100000"/>
              </a:lnSpc>
              <a:buFont typeface="+mj-lt"/>
              <a:buAutoNum type="arabicPeriod"/>
              <a:defRPr sz="1600">
                <a:solidFill>
                  <a:schemeClr val="tx2"/>
                </a:solidFill>
              </a:defRPr>
            </a:lvl4pPr>
            <a:lvl5pPr marL="271463" indent="-271463">
              <a:lnSpc>
                <a:spcPct val="100000"/>
              </a:lnSpc>
              <a:buFont typeface="+mj-lt"/>
              <a:buAutoNum type="alphaUcPeriod"/>
              <a:defRPr sz="1600" b="0" cap="none" spc="-50" baseline="0">
                <a:solidFill>
                  <a:schemeClr val="tx2"/>
                </a:solidFill>
              </a:defRPr>
            </a:lvl5pPr>
            <a:lvl6pPr>
              <a:defRPr sz="1600"/>
            </a:lvl6pPr>
            <a:lvl7pPr>
              <a:defRPr sz="1600">
                <a:solidFill>
                  <a:schemeClr val="tx2"/>
                </a:solidFill>
              </a:defRPr>
            </a:lvl7pPr>
            <a:lvl8pPr marL="271463" indent="-271463">
              <a:buClr>
                <a:schemeClr val="tx2"/>
              </a:buClr>
              <a:buFont typeface="+mj-lt"/>
              <a:buAutoNum type="arabicParenR"/>
              <a:defRPr sz="1000">
                <a:solidFill>
                  <a:schemeClr val="tx2"/>
                </a:solidFill>
              </a:defRPr>
            </a:lvl8pPr>
            <a:lvl9pPr marL="271463" indent="-271463">
              <a:buClr>
                <a:schemeClr val="tx2"/>
              </a:buClr>
              <a:buFont typeface="+mj-lt"/>
              <a:buAutoNum type="alphaLcParenR"/>
              <a:defRPr sz="1000">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8" name="Text Placeholder 6">
            <a:extLst>
              <a:ext uri="{FF2B5EF4-FFF2-40B4-BE49-F238E27FC236}">
                <a16:creationId xmlns:a16="http://schemas.microsoft.com/office/drawing/2014/main" id="{67908BB7-3AA9-46B8-9F51-F98F86B5DB18}"/>
              </a:ext>
            </a:extLst>
          </p:cNvPr>
          <p:cNvSpPr>
            <a:spLocks noGrp="1"/>
          </p:cNvSpPr>
          <p:nvPr>
            <p:ph type="body" sz="quarter" idx="14" hasCustomPrompt="1"/>
          </p:nvPr>
        </p:nvSpPr>
        <p:spPr>
          <a:xfrm>
            <a:off x="8942388" y="1644771"/>
            <a:ext cx="2444750" cy="4063616"/>
          </a:xfrm>
        </p:spPr>
        <p:txBody>
          <a:bodyPr lIns="0"/>
          <a:lstStyle>
            <a:lvl1pPr marL="0" indent="0">
              <a:lnSpc>
                <a:spcPct val="80000"/>
              </a:lnSpc>
              <a:spcAft>
                <a:spcPts val="1200"/>
              </a:spcAft>
              <a:buFont typeface="Arial" panose="020B0604020202020204" pitchFamily="34" charset="0"/>
              <a:buChar char="​"/>
              <a:defRPr sz="4800" b="1" cap="all" spc="-150" baseline="0">
                <a:solidFill>
                  <a:schemeClr val="tx2"/>
                </a:solidFill>
              </a:defRPr>
            </a:lvl1pPr>
            <a:lvl2pPr marL="0" indent="0">
              <a:lnSpc>
                <a:spcPct val="100000"/>
              </a:lnSpc>
              <a:buFont typeface="Arial" panose="020B0604020202020204" pitchFamily="34" charset="0"/>
              <a:buChar char="​"/>
              <a:defRPr sz="1600" baseline="0">
                <a:solidFill>
                  <a:schemeClr val="tx2"/>
                </a:solidFill>
              </a:defRPr>
            </a:lvl2pPr>
            <a:lvl3pPr marL="252000" indent="-252000">
              <a:lnSpc>
                <a:spcPct val="100000"/>
              </a:lnSpc>
              <a:buFont typeface="Verdana" panose="020B0604030504040204" pitchFamily="34" charset="0"/>
              <a:buChar char="•"/>
              <a:defRPr sz="1600" i="0" baseline="0">
                <a:solidFill>
                  <a:schemeClr val="tx2"/>
                </a:solidFill>
              </a:defRPr>
            </a:lvl3pPr>
            <a:lvl4pPr marL="271463" indent="-271463">
              <a:lnSpc>
                <a:spcPct val="100000"/>
              </a:lnSpc>
              <a:buFont typeface="+mj-lt"/>
              <a:buAutoNum type="arabicPeriod"/>
              <a:defRPr sz="1600">
                <a:solidFill>
                  <a:schemeClr val="tx2"/>
                </a:solidFill>
              </a:defRPr>
            </a:lvl4pPr>
            <a:lvl5pPr marL="271463" indent="-271463">
              <a:lnSpc>
                <a:spcPct val="100000"/>
              </a:lnSpc>
              <a:buFont typeface="+mj-lt"/>
              <a:buAutoNum type="alphaUcPeriod"/>
              <a:defRPr sz="1600" b="0" cap="none" spc="-50" baseline="0">
                <a:solidFill>
                  <a:schemeClr val="tx2"/>
                </a:solidFill>
              </a:defRPr>
            </a:lvl5pPr>
            <a:lvl6pPr>
              <a:defRPr sz="1600"/>
            </a:lvl6pPr>
            <a:lvl7pPr>
              <a:defRPr sz="1600">
                <a:solidFill>
                  <a:schemeClr val="tx2"/>
                </a:solidFill>
              </a:defRPr>
            </a:lvl7pPr>
            <a:lvl8pPr marL="271463" indent="-271463">
              <a:buClr>
                <a:schemeClr val="tx2"/>
              </a:buClr>
              <a:buFont typeface="+mj-lt"/>
              <a:buAutoNum type="arabicParenR"/>
              <a:defRPr sz="1000">
                <a:solidFill>
                  <a:schemeClr val="tx2"/>
                </a:solidFill>
              </a:defRPr>
            </a:lvl8pPr>
            <a:lvl9pPr marL="271463" indent="-271463">
              <a:buClr>
                <a:schemeClr val="tx2"/>
              </a:buClr>
              <a:buFont typeface="+mj-lt"/>
              <a:buAutoNum type="alphaLcParenR"/>
              <a:defRPr sz="1000">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grpSp>
        <p:nvGrpSpPr>
          <p:cNvPr id="16" name="Group 15">
            <a:extLst>
              <a:ext uri="{FF2B5EF4-FFF2-40B4-BE49-F238E27FC236}">
                <a16:creationId xmlns:a16="http://schemas.microsoft.com/office/drawing/2014/main" id="{F92F4B53-30AD-4697-89D7-9D962CE965E5}"/>
              </a:ext>
            </a:extLst>
          </p:cNvPr>
          <p:cNvGrpSpPr/>
          <p:nvPr userDrawn="1"/>
        </p:nvGrpSpPr>
        <p:grpSpPr>
          <a:xfrm>
            <a:off x="12339858" y="1634370"/>
            <a:ext cx="1796791" cy="2907588"/>
            <a:chOff x="12403271" y="-1"/>
            <a:chExt cx="1796791" cy="2907588"/>
          </a:xfrm>
        </p:grpSpPr>
        <p:pic>
          <p:nvPicPr>
            <p:cNvPr id="17" name="Picture 16">
              <a:extLst>
                <a:ext uri="{FF2B5EF4-FFF2-40B4-BE49-F238E27FC236}">
                  <a16:creationId xmlns:a16="http://schemas.microsoft.com/office/drawing/2014/main" id="{AF0FEF35-0958-440B-A77A-2699A83990A6}"/>
                </a:ext>
              </a:extLst>
            </p:cNvPr>
            <p:cNvPicPr>
              <a:picLocks noChangeAspect="1"/>
            </p:cNvPicPr>
            <p:nvPr userDrawn="1"/>
          </p:nvPicPr>
          <p:blipFill>
            <a:blip r:embed="rId2"/>
            <a:stretch>
              <a:fillRect/>
            </a:stretch>
          </p:blipFill>
          <p:spPr>
            <a:xfrm>
              <a:off x="12414617" y="1122667"/>
              <a:ext cx="1261627" cy="1565633"/>
            </a:xfrm>
            <a:prstGeom prst="rect">
              <a:avLst/>
            </a:prstGeom>
          </p:spPr>
        </p:pic>
        <p:grpSp>
          <p:nvGrpSpPr>
            <p:cNvPr id="18" name="Group 17">
              <a:extLst>
                <a:ext uri="{FF2B5EF4-FFF2-40B4-BE49-F238E27FC236}">
                  <a16:creationId xmlns:a16="http://schemas.microsoft.com/office/drawing/2014/main" id="{24203BB4-30A9-4057-A809-926EDEDB9F4F}"/>
                </a:ext>
              </a:extLst>
            </p:cNvPr>
            <p:cNvGrpSpPr/>
            <p:nvPr userDrawn="1"/>
          </p:nvGrpSpPr>
          <p:grpSpPr>
            <a:xfrm>
              <a:off x="12403271" y="-1"/>
              <a:ext cx="1796791" cy="2907588"/>
              <a:chOff x="9009867" y="1645032"/>
              <a:chExt cx="2365739" cy="3828268"/>
            </a:xfrm>
          </p:grpSpPr>
          <p:pic>
            <p:nvPicPr>
              <p:cNvPr id="19" name="Picture 18">
                <a:extLst>
                  <a:ext uri="{FF2B5EF4-FFF2-40B4-BE49-F238E27FC236}">
                    <a16:creationId xmlns:a16="http://schemas.microsoft.com/office/drawing/2014/main" id="{7139BD4A-714C-44AF-902B-B7BB51BF1ECF}"/>
                  </a:ext>
                </a:extLst>
              </p:cNvPr>
              <p:cNvPicPr>
                <a:picLocks noChangeAspect="1"/>
              </p:cNvPicPr>
              <p:nvPr/>
            </p:nvPicPr>
            <p:blipFill>
              <a:blip r:embed="rId3"/>
              <a:stretch>
                <a:fillRect/>
              </a:stretch>
            </p:blipFill>
            <p:spPr>
              <a:xfrm>
                <a:off x="9182748" y="1852126"/>
                <a:ext cx="599367" cy="280555"/>
              </a:xfrm>
              <a:prstGeom prst="rect">
                <a:avLst/>
              </a:prstGeom>
            </p:spPr>
          </p:pic>
          <p:sp>
            <p:nvSpPr>
              <p:cNvPr id="20" name="TextBox 19">
                <a:extLst>
                  <a:ext uri="{FF2B5EF4-FFF2-40B4-BE49-F238E27FC236}">
                    <a16:creationId xmlns:a16="http://schemas.microsoft.com/office/drawing/2014/main" id="{FBB5C133-0407-4A77-B2F7-7E365D047DE4}"/>
                  </a:ext>
                </a:extLst>
              </p:cNvPr>
              <p:cNvSpPr txBox="1"/>
              <p:nvPr/>
            </p:nvSpPr>
            <p:spPr bwMode="auto">
              <a:xfrm>
                <a:off x="9199275" y="2239970"/>
                <a:ext cx="1887588" cy="85099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12700" marR="0" indent="-25400" algn="l" defTabSz="457200" rtl="0" eaLnBrk="0" fontAlgn="base" latinLnBrk="0" hangingPunct="0">
                  <a:spcBef>
                    <a:spcPct val="0"/>
                  </a:spcBef>
                  <a:spcAft>
                    <a:spcPts val="600"/>
                  </a:spcAft>
                  <a:buClrTx/>
                  <a:buSzTx/>
                  <a:tabLst/>
                </a:pPr>
                <a: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21" name="Rectangle: Rounded Corners 20">
                <a:extLst>
                  <a:ext uri="{FF2B5EF4-FFF2-40B4-BE49-F238E27FC236}">
                    <a16:creationId xmlns:a16="http://schemas.microsoft.com/office/drawing/2014/main" id="{1BBC228B-197B-44A3-99D0-D56237507B14}"/>
                  </a:ext>
                </a:extLst>
              </p:cNvPr>
              <p:cNvSpPr/>
              <p:nvPr/>
            </p:nvSpPr>
            <p:spPr>
              <a:xfrm>
                <a:off x="9009867" y="1645032"/>
                <a:ext cx="2365739" cy="3828268"/>
              </a:xfrm>
              <a:prstGeom prst="roundRect">
                <a:avLst>
                  <a:gd name="adj" fmla="val 2970"/>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a:solidFill>
                    <a:schemeClr val="accent3"/>
                  </a:solidFill>
                </a:endParaRPr>
              </a:p>
            </p:txBody>
          </p:sp>
        </p:grpSp>
      </p:grpSp>
      <p:sp>
        <p:nvSpPr>
          <p:cNvPr id="13" name="Footer Placeholder 4">
            <a:extLst>
              <a:ext uri="{FF2B5EF4-FFF2-40B4-BE49-F238E27FC236}">
                <a16:creationId xmlns:a16="http://schemas.microsoft.com/office/drawing/2014/main" id="{CE9B38D5-AD3D-4AE8-88F2-0F9D25BB30CD}"/>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5" name="Date_DateCustomA">
            <a:extLst>
              <a:ext uri="{FF2B5EF4-FFF2-40B4-BE49-F238E27FC236}">
                <a16:creationId xmlns:a16="http://schemas.microsoft.com/office/drawing/2014/main" id="{1AC23FC6-140A-4E04-B1F9-995F52FC873F}"/>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A79F0066-3164-42E7-92E6-6ECB81B57310}" type="datetime1">
              <a:rPr lang="en-GB" smtClean="0"/>
              <a:t>04/03/2024</a:t>
            </a:fld>
            <a:endParaRPr lang="en-GB"/>
          </a:p>
        </p:txBody>
      </p:sp>
    </p:spTree>
    <p:extLst>
      <p:ext uri="{BB962C8B-B14F-4D97-AF65-F5344CB8AC3E}">
        <p14:creationId xmlns:p14="http://schemas.microsoft.com/office/powerpoint/2010/main" val="4606591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ct text and content">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6868B673-9D9F-4BF4-8D81-D1B3477E6F0F}"/>
              </a:ext>
            </a:extLst>
          </p:cNvPr>
          <p:cNvGrpSpPr/>
          <p:nvPr userDrawn="1"/>
        </p:nvGrpSpPr>
        <p:grpSpPr>
          <a:xfrm>
            <a:off x="-1972094" y="1634370"/>
            <a:ext cx="1796791" cy="2907588"/>
            <a:chOff x="12339857" y="1634370"/>
            <a:chExt cx="1796791" cy="2907588"/>
          </a:xfrm>
        </p:grpSpPr>
        <p:sp>
          <p:nvSpPr>
            <p:cNvPr id="19" name="Rectangle: Rounded Corners 18">
              <a:extLst>
                <a:ext uri="{FF2B5EF4-FFF2-40B4-BE49-F238E27FC236}">
                  <a16:creationId xmlns:a16="http://schemas.microsoft.com/office/drawing/2014/main" id="{9F61C6D9-96E6-46EB-8545-E257C98220F8}"/>
                </a:ext>
              </a:extLst>
            </p:cNvPr>
            <p:cNvSpPr/>
            <p:nvPr/>
          </p:nvSpPr>
          <p:spPr>
            <a:xfrm>
              <a:off x="12339857" y="1634370"/>
              <a:ext cx="1796791" cy="2907588"/>
            </a:xfrm>
            <a:prstGeom prst="roundRect">
              <a:avLst>
                <a:gd name="adj" fmla="val 2970"/>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a:solidFill>
                  <a:schemeClr val="accent3"/>
                </a:solidFill>
              </a:endParaRPr>
            </a:p>
          </p:txBody>
        </p:sp>
        <p:pic>
          <p:nvPicPr>
            <p:cNvPr id="17" name="Picture 16">
              <a:extLst>
                <a:ext uri="{FF2B5EF4-FFF2-40B4-BE49-F238E27FC236}">
                  <a16:creationId xmlns:a16="http://schemas.microsoft.com/office/drawing/2014/main" id="{23EC8C10-6A9E-4C2B-B6BA-69C39462851D}"/>
                </a:ext>
              </a:extLst>
            </p:cNvPr>
            <p:cNvPicPr>
              <a:picLocks noChangeAspect="1"/>
            </p:cNvPicPr>
            <p:nvPr/>
          </p:nvPicPr>
          <p:blipFill>
            <a:blip r:embed="rId2"/>
            <a:stretch>
              <a:fillRect/>
            </a:stretch>
          </p:blipFill>
          <p:spPr>
            <a:xfrm>
              <a:off x="12471161" y="1791659"/>
              <a:ext cx="455222" cy="213083"/>
            </a:xfrm>
            <a:prstGeom prst="rect">
              <a:avLst/>
            </a:prstGeom>
          </p:spPr>
        </p:pic>
        <p:sp>
          <p:nvSpPr>
            <p:cNvPr id="18" name="TextBox 17">
              <a:extLst>
                <a:ext uri="{FF2B5EF4-FFF2-40B4-BE49-F238E27FC236}">
                  <a16:creationId xmlns:a16="http://schemas.microsoft.com/office/drawing/2014/main" id="{BF580C90-4416-41DC-ADAC-F1014BB16E65}"/>
                </a:ext>
              </a:extLst>
            </p:cNvPr>
            <p:cNvSpPr txBox="1"/>
            <p:nvPr/>
          </p:nvSpPr>
          <p:spPr bwMode="auto">
            <a:xfrm>
              <a:off x="12483714" y="2086228"/>
              <a:ext cx="1433633" cy="64633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12700" marR="0" indent="-25400" algn="l" defTabSz="457200" rtl="0" eaLnBrk="0" fontAlgn="base" latinLnBrk="0" hangingPunct="0">
                <a:spcBef>
                  <a:spcPct val="0"/>
                </a:spcBef>
                <a:spcAft>
                  <a:spcPts val="600"/>
                </a:spcAft>
                <a:buClrTx/>
                <a:buSzTx/>
                <a:tabLst/>
              </a:pPr>
              <a: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pic>
          <p:nvPicPr>
            <p:cNvPr id="15" name="Picture 14">
              <a:extLst>
                <a:ext uri="{FF2B5EF4-FFF2-40B4-BE49-F238E27FC236}">
                  <a16:creationId xmlns:a16="http://schemas.microsoft.com/office/drawing/2014/main" id="{22C7FA45-BEB8-4FA0-89DA-4AF47CEA9ACF}"/>
                </a:ext>
              </a:extLst>
            </p:cNvPr>
            <p:cNvPicPr>
              <a:picLocks noChangeAspect="1"/>
            </p:cNvPicPr>
            <p:nvPr userDrawn="1"/>
          </p:nvPicPr>
          <p:blipFill>
            <a:blip r:embed="rId3"/>
            <a:stretch>
              <a:fillRect/>
            </a:stretch>
          </p:blipFill>
          <p:spPr>
            <a:xfrm>
              <a:off x="12351204" y="2757038"/>
              <a:ext cx="1261627" cy="1565633"/>
            </a:xfrm>
            <a:prstGeom prst="rect">
              <a:avLst/>
            </a:prstGeom>
          </p:spPr>
        </p:pic>
      </p:grpSp>
      <p:grpSp>
        <p:nvGrpSpPr>
          <p:cNvPr id="21" name="Group 20">
            <a:extLst>
              <a:ext uri="{FF2B5EF4-FFF2-40B4-BE49-F238E27FC236}">
                <a16:creationId xmlns:a16="http://schemas.microsoft.com/office/drawing/2014/main" id="{21327CDE-D280-433E-A1DD-9B88BC9A9D74}"/>
              </a:ext>
            </a:extLst>
          </p:cNvPr>
          <p:cNvGrpSpPr/>
          <p:nvPr userDrawn="1"/>
        </p:nvGrpSpPr>
        <p:grpSpPr>
          <a:xfrm>
            <a:off x="12339858" y="1634370"/>
            <a:ext cx="1796791" cy="2907588"/>
            <a:chOff x="-1899137" y="-1"/>
            <a:chExt cx="1796791" cy="2907588"/>
          </a:xfrm>
        </p:grpSpPr>
        <p:grpSp>
          <p:nvGrpSpPr>
            <p:cNvPr id="22" name="Group 21">
              <a:extLst>
                <a:ext uri="{FF2B5EF4-FFF2-40B4-BE49-F238E27FC236}">
                  <a16:creationId xmlns:a16="http://schemas.microsoft.com/office/drawing/2014/main" id="{4AE14B58-12EA-4B20-8931-337F0DC7BE74}"/>
                </a:ext>
              </a:extLst>
            </p:cNvPr>
            <p:cNvGrpSpPr/>
            <p:nvPr userDrawn="1"/>
          </p:nvGrpSpPr>
          <p:grpSpPr>
            <a:xfrm>
              <a:off x="-1899137" y="-1"/>
              <a:ext cx="1796791" cy="2907588"/>
              <a:chOff x="9009867" y="1645032"/>
              <a:chExt cx="2365739" cy="3828268"/>
            </a:xfrm>
          </p:grpSpPr>
          <p:pic>
            <p:nvPicPr>
              <p:cNvPr id="24" name="Picture 23">
                <a:extLst>
                  <a:ext uri="{FF2B5EF4-FFF2-40B4-BE49-F238E27FC236}">
                    <a16:creationId xmlns:a16="http://schemas.microsoft.com/office/drawing/2014/main" id="{E1E15413-4664-4681-9444-310804612302}"/>
                  </a:ext>
                </a:extLst>
              </p:cNvPr>
              <p:cNvPicPr>
                <a:picLocks noChangeAspect="1"/>
              </p:cNvPicPr>
              <p:nvPr/>
            </p:nvPicPr>
            <p:blipFill>
              <a:blip r:embed="rId2"/>
              <a:stretch>
                <a:fillRect/>
              </a:stretch>
            </p:blipFill>
            <p:spPr>
              <a:xfrm>
                <a:off x="9182748" y="1852126"/>
                <a:ext cx="599367" cy="280555"/>
              </a:xfrm>
              <a:prstGeom prst="rect">
                <a:avLst/>
              </a:prstGeom>
            </p:spPr>
          </p:pic>
          <p:sp>
            <p:nvSpPr>
              <p:cNvPr id="25" name="TextBox 24">
                <a:extLst>
                  <a:ext uri="{FF2B5EF4-FFF2-40B4-BE49-F238E27FC236}">
                    <a16:creationId xmlns:a16="http://schemas.microsoft.com/office/drawing/2014/main" id="{D2D38E9D-D309-4835-BB4A-24E940357F1D}"/>
                  </a:ext>
                </a:extLst>
              </p:cNvPr>
              <p:cNvSpPr txBox="1"/>
              <p:nvPr/>
            </p:nvSpPr>
            <p:spPr bwMode="auto">
              <a:xfrm>
                <a:off x="9199275" y="2239970"/>
                <a:ext cx="1887588" cy="85099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12700" marR="0" indent="-25400" algn="l" defTabSz="457200" rtl="0" eaLnBrk="0" fontAlgn="base" latinLnBrk="0" hangingPunct="0">
                  <a:spcBef>
                    <a:spcPct val="0"/>
                  </a:spcBef>
                  <a:spcAft>
                    <a:spcPts val="600"/>
                  </a:spcAft>
                  <a:buClrTx/>
                  <a:buSzTx/>
                  <a:tabLst/>
                </a:pPr>
                <a: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26" name="Rectangle: Rounded Corners 25">
                <a:extLst>
                  <a:ext uri="{FF2B5EF4-FFF2-40B4-BE49-F238E27FC236}">
                    <a16:creationId xmlns:a16="http://schemas.microsoft.com/office/drawing/2014/main" id="{3408A5E0-BE3B-4CF6-B031-C7BDEAE8EF42}"/>
                  </a:ext>
                </a:extLst>
              </p:cNvPr>
              <p:cNvSpPr/>
              <p:nvPr/>
            </p:nvSpPr>
            <p:spPr>
              <a:xfrm>
                <a:off x="9009867" y="1645032"/>
                <a:ext cx="2365739" cy="3828268"/>
              </a:xfrm>
              <a:prstGeom prst="roundRect">
                <a:avLst>
                  <a:gd name="adj" fmla="val 3193"/>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a:solidFill>
                    <a:schemeClr val="accent3"/>
                  </a:solidFill>
                </a:endParaRPr>
              </a:p>
            </p:txBody>
          </p:sp>
        </p:grpSp>
        <p:pic>
          <p:nvPicPr>
            <p:cNvPr id="23" name="Picture 22">
              <a:extLst>
                <a:ext uri="{FF2B5EF4-FFF2-40B4-BE49-F238E27FC236}">
                  <a16:creationId xmlns:a16="http://schemas.microsoft.com/office/drawing/2014/main" id="{74467B95-2571-401A-B1E8-0E4825008764}"/>
                </a:ext>
              </a:extLst>
            </p:cNvPr>
            <p:cNvPicPr>
              <a:picLocks noChangeAspect="1"/>
            </p:cNvPicPr>
            <p:nvPr userDrawn="1"/>
          </p:nvPicPr>
          <p:blipFill>
            <a:blip r:embed="rId4"/>
            <a:stretch>
              <a:fillRect/>
            </a:stretch>
          </p:blipFill>
          <p:spPr>
            <a:xfrm>
              <a:off x="-1884053" y="1200637"/>
              <a:ext cx="1418614" cy="1444137"/>
            </a:xfrm>
            <a:prstGeom prst="rect">
              <a:avLst/>
            </a:prstGeom>
          </p:spPr>
        </p:pic>
      </p:grpSp>
      <p:sp>
        <p:nvSpPr>
          <p:cNvPr id="4" name="Title 1"/>
          <p:cNvSpPr>
            <a:spLocks noGrp="1"/>
          </p:cNvSpPr>
          <p:nvPr>
            <p:ph type="title"/>
          </p:nvPr>
        </p:nvSpPr>
        <p:spPr>
          <a:xfrm>
            <a:off x="798514" y="453600"/>
            <a:ext cx="10588624" cy="748800"/>
          </a:xfrm>
        </p:spPr>
        <p:txBody>
          <a:bodyPr/>
          <a:lstStyle/>
          <a:p>
            <a:r>
              <a:rPr lang="en-GB"/>
              <a:t>Click to edit Master title style</a:t>
            </a:r>
          </a:p>
        </p:txBody>
      </p:sp>
      <p:sp>
        <p:nvSpPr>
          <p:cNvPr id="3" name="Content Placeholder 2"/>
          <p:cNvSpPr>
            <a:spLocks noGrp="1"/>
          </p:cNvSpPr>
          <p:nvPr>
            <p:ph idx="1" hasCustomPrompt="1"/>
          </p:nvPr>
        </p:nvSpPr>
        <p:spPr>
          <a:xfrm>
            <a:off x="4056064" y="1645033"/>
            <a:ext cx="7331074"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Text Placeholder 6">
            <a:extLst>
              <a:ext uri="{FF2B5EF4-FFF2-40B4-BE49-F238E27FC236}">
                <a16:creationId xmlns:a16="http://schemas.microsoft.com/office/drawing/2014/main" id="{344D76E6-1904-4038-80C4-8BC46CEBB703}"/>
              </a:ext>
            </a:extLst>
          </p:cNvPr>
          <p:cNvSpPr>
            <a:spLocks noGrp="1"/>
          </p:cNvSpPr>
          <p:nvPr>
            <p:ph type="body" sz="quarter" idx="15" hasCustomPrompt="1"/>
          </p:nvPr>
        </p:nvSpPr>
        <p:spPr>
          <a:xfrm>
            <a:off x="798514" y="1644771"/>
            <a:ext cx="2443162" cy="4063616"/>
          </a:xfrm>
        </p:spPr>
        <p:txBody>
          <a:bodyPr lIns="0"/>
          <a:lstStyle>
            <a:lvl1pPr marL="0" indent="0">
              <a:lnSpc>
                <a:spcPct val="80000"/>
              </a:lnSpc>
              <a:spcAft>
                <a:spcPts val="1200"/>
              </a:spcAft>
              <a:buFont typeface="Arial" panose="020B0604020202020204" pitchFamily="34" charset="0"/>
              <a:buChar char="​"/>
              <a:defRPr sz="4800" b="1" cap="all" spc="-150" baseline="0">
                <a:solidFill>
                  <a:schemeClr val="tx2"/>
                </a:solidFill>
              </a:defRPr>
            </a:lvl1pPr>
            <a:lvl2pPr marL="0" indent="0">
              <a:lnSpc>
                <a:spcPct val="100000"/>
              </a:lnSpc>
              <a:buFont typeface="Arial" panose="020B0604020202020204" pitchFamily="34" charset="0"/>
              <a:buChar char="​"/>
              <a:defRPr sz="1600" baseline="0">
                <a:solidFill>
                  <a:schemeClr val="tx2"/>
                </a:solidFill>
              </a:defRPr>
            </a:lvl2pPr>
            <a:lvl3pPr marL="252000" indent="-252000">
              <a:lnSpc>
                <a:spcPct val="100000"/>
              </a:lnSpc>
              <a:buFont typeface="Verdana" panose="020B0604030504040204" pitchFamily="34" charset="0"/>
              <a:buChar char="•"/>
              <a:defRPr sz="1600" i="0" baseline="0">
                <a:solidFill>
                  <a:schemeClr val="tx2"/>
                </a:solidFill>
              </a:defRPr>
            </a:lvl3pPr>
            <a:lvl4pPr marL="271463" indent="-271463">
              <a:lnSpc>
                <a:spcPct val="100000"/>
              </a:lnSpc>
              <a:buFont typeface="+mj-lt"/>
              <a:buAutoNum type="arabicPeriod"/>
              <a:defRPr sz="1600">
                <a:solidFill>
                  <a:schemeClr val="tx2"/>
                </a:solidFill>
              </a:defRPr>
            </a:lvl4pPr>
            <a:lvl5pPr marL="271463" indent="-271463">
              <a:lnSpc>
                <a:spcPct val="100000"/>
              </a:lnSpc>
              <a:buFont typeface="+mj-lt"/>
              <a:buAutoNum type="alphaUcPeriod"/>
              <a:defRPr sz="1600" b="0" cap="none" spc="-50" baseline="0">
                <a:solidFill>
                  <a:schemeClr val="tx2"/>
                </a:solidFill>
              </a:defRPr>
            </a:lvl5pPr>
            <a:lvl6pPr>
              <a:defRPr sz="1600"/>
            </a:lvl6pPr>
            <a:lvl7pPr>
              <a:defRPr sz="1600">
                <a:solidFill>
                  <a:schemeClr val="tx2"/>
                </a:solidFill>
              </a:defRPr>
            </a:lvl7pPr>
            <a:lvl8pPr marL="271463" indent="-271463">
              <a:buClr>
                <a:schemeClr val="tx2"/>
              </a:buClr>
              <a:buFont typeface="+mj-lt"/>
              <a:buAutoNum type="arabicParenR"/>
              <a:defRPr sz="1000">
                <a:solidFill>
                  <a:schemeClr val="tx2"/>
                </a:solidFill>
              </a:defRPr>
            </a:lvl8pPr>
            <a:lvl9pPr marL="271463" indent="-271463">
              <a:buClr>
                <a:schemeClr val="tx2"/>
              </a:buClr>
              <a:buFont typeface="+mj-lt"/>
              <a:buAutoNum type="alphaLcParenR"/>
              <a:defRPr sz="1000">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0" name="Text Placeholder 6">
            <a:extLst>
              <a:ext uri="{FF2B5EF4-FFF2-40B4-BE49-F238E27FC236}">
                <a16:creationId xmlns:a16="http://schemas.microsoft.com/office/drawing/2014/main" id="{6CAB1BFF-44E8-48FF-AF80-4144B6650AAE}"/>
              </a:ext>
            </a:extLst>
          </p:cNvPr>
          <p:cNvSpPr>
            <a:spLocks noGrp="1"/>
          </p:cNvSpPr>
          <p:nvPr>
            <p:ph type="body" sz="quarter" idx="14" hasCustomPrompt="1"/>
          </p:nvPr>
        </p:nvSpPr>
        <p:spPr>
          <a:xfrm>
            <a:off x="798514" y="4992414"/>
            <a:ext cx="2443161" cy="715973"/>
          </a:xfrm>
        </p:spPr>
        <p:txBody>
          <a:bodyPr lIns="0" anchor="b" anchorCtr="0"/>
          <a:lstStyle>
            <a:lvl1pPr marL="228600" indent="-228600">
              <a:lnSpc>
                <a:spcPct val="80000"/>
              </a:lnSpc>
              <a:spcAft>
                <a:spcPts val="1200"/>
              </a:spcAft>
              <a:buFont typeface="+mj-lt"/>
              <a:buAutoNum type="arabicParenR"/>
              <a:defRPr sz="1000" b="0" i="1" cap="none" spc="0" baseline="0">
                <a:solidFill>
                  <a:schemeClr val="bg2"/>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Not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27" name="Footer Placeholder 4">
            <a:extLst>
              <a:ext uri="{FF2B5EF4-FFF2-40B4-BE49-F238E27FC236}">
                <a16:creationId xmlns:a16="http://schemas.microsoft.com/office/drawing/2014/main" id="{BB98BEF1-8B24-44DD-B00E-B069E4D5CA5D}"/>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29" name="Date_DateCustomA">
            <a:extLst>
              <a:ext uri="{FF2B5EF4-FFF2-40B4-BE49-F238E27FC236}">
                <a16:creationId xmlns:a16="http://schemas.microsoft.com/office/drawing/2014/main" id="{5AF2CA37-37E6-4F35-A8D3-13E15E8256C8}"/>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FE8FCDCF-FAAC-48D8-97CE-71AEDA9EFE29}" type="datetime1">
              <a:rPr lang="en-GB" smtClean="0"/>
              <a:t>04/03/2024</a:t>
            </a:fld>
            <a:endParaRPr lang="en-GB"/>
          </a:p>
        </p:txBody>
      </p:sp>
    </p:spTree>
    <p:extLst>
      <p:ext uri="{BB962C8B-B14F-4D97-AF65-F5344CB8AC3E}">
        <p14:creationId xmlns:p14="http://schemas.microsoft.com/office/powerpoint/2010/main" val="253538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image (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6556C8-A731-4240-9800-194A4F70A1D8}"/>
              </a:ext>
            </a:extLst>
          </p:cNvPr>
          <p:cNvSpPr>
            <a:spLocks noGrp="1"/>
          </p:cNvSpPr>
          <p:nvPr>
            <p:ph type="title"/>
          </p:nvPr>
        </p:nvSpPr>
        <p:spPr>
          <a:xfrm>
            <a:off x="798514" y="452543"/>
            <a:ext cx="4071936" cy="748800"/>
          </a:xfrm>
        </p:spPr>
        <p:txBody>
          <a:bodyPr/>
          <a:lstStyle/>
          <a:p>
            <a:r>
              <a:rPr lang="en-GB"/>
              <a:t>Click to edit Master title style</a:t>
            </a:r>
          </a:p>
        </p:txBody>
      </p:sp>
      <p:sp>
        <p:nvSpPr>
          <p:cNvPr id="7" name="Content Placeholder 2">
            <a:extLst>
              <a:ext uri="{FF2B5EF4-FFF2-40B4-BE49-F238E27FC236}">
                <a16:creationId xmlns:a16="http://schemas.microsoft.com/office/drawing/2014/main" id="{F530FD33-AB9C-4A88-9BBB-1E385B91358C}"/>
              </a:ext>
            </a:extLst>
          </p:cNvPr>
          <p:cNvSpPr>
            <a:spLocks noGrp="1"/>
          </p:cNvSpPr>
          <p:nvPr>
            <p:ph idx="17" hasCustomPrompt="1"/>
          </p:nvPr>
        </p:nvSpPr>
        <p:spPr>
          <a:xfrm>
            <a:off x="798513" y="1645033"/>
            <a:ext cx="4071937"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6" name="Text Placeholder 6">
            <a:extLst>
              <a:ext uri="{FF2B5EF4-FFF2-40B4-BE49-F238E27FC236}">
                <a16:creationId xmlns:a16="http://schemas.microsoft.com/office/drawing/2014/main" id="{9C52035C-C8B1-4C44-976C-626BFFA7790E}"/>
              </a:ext>
            </a:extLst>
          </p:cNvPr>
          <p:cNvSpPr>
            <a:spLocks noGrp="1"/>
          </p:cNvSpPr>
          <p:nvPr>
            <p:ph type="body" sz="quarter" idx="14" hasCustomPrompt="1"/>
          </p:nvPr>
        </p:nvSpPr>
        <p:spPr>
          <a:xfrm>
            <a:off x="5684838" y="5390147"/>
            <a:ext cx="5702300"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4838" y="537029"/>
            <a:ext cx="5702300" cy="4853118"/>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8" name="Footer Placeholder 4">
            <a:extLst>
              <a:ext uri="{FF2B5EF4-FFF2-40B4-BE49-F238E27FC236}">
                <a16:creationId xmlns:a16="http://schemas.microsoft.com/office/drawing/2014/main" id="{49DC368E-8BDB-41BB-B406-A3B0A25665D3}"/>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1" name="Date_DateCustomA">
            <a:extLst>
              <a:ext uri="{FF2B5EF4-FFF2-40B4-BE49-F238E27FC236}">
                <a16:creationId xmlns:a16="http://schemas.microsoft.com/office/drawing/2014/main" id="{6531AD21-BE76-4592-909B-A3B963868059}"/>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7E088B74-D5F8-4D6D-B466-6D0723103653}" type="datetime1">
              <a:rPr lang="en-GB" smtClean="0"/>
              <a:t>04/03/2024</a:t>
            </a:fld>
            <a:endParaRPr lang="en-GB"/>
          </a:p>
        </p:txBody>
      </p:sp>
    </p:spTree>
    <p:extLst>
      <p:ext uri="{BB962C8B-B14F-4D97-AF65-F5344CB8AC3E}">
        <p14:creationId xmlns:p14="http://schemas.microsoft.com/office/powerpoint/2010/main" val="1123995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image (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2CDE71F-8FC2-4DE4-9423-EE57143478CB}"/>
              </a:ext>
            </a:extLst>
          </p:cNvPr>
          <p:cNvSpPr>
            <a:spLocks noGrp="1"/>
          </p:cNvSpPr>
          <p:nvPr>
            <p:ph type="title"/>
          </p:nvPr>
        </p:nvSpPr>
        <p:spPr>
          <a:xfrm>
            <a:off x="798513" y="452543"/>
            <a:ext cx="2443162" cy="748800"/>
          </a:xfrm>
        </p:spPr>
        <p:txBody>
          <a:bodyPr/>
          <a:lstStyle/>
          <a:p>
            <a:r>
              <a:rPr lang="en-GB"/>
              <a:t>Click to edit Master title style</a:t>
            </a:r>
          </a:p>
        </p:txBody>
      </p:sp>
      <p:sp>
        <p:nvSpPr>
          <p:cNvPr id="13" name="Content Placeholder 2">
            <a:extLst>
              <a:ext uri="{FF2B5EF4-FFF2-40B4-BE49-F238E27FC236}">
                <a16:creationId xmlns:a16="http://schemas.microsoft.com/office/drawing/2014/main" id="{BBB1DDA8-1E6E-4FBF-BB03-A4586ACC43CE}"/>
              </a:ext>
            </a:extLst>
          </p:cNvPr>
          <p:cNvSpPr>
            <a:spLocks noGrp="1"/>
          </p:cNvSpPr>
          <p:nvPr>
            <p:ph idx="12" hasCustomPrompt="1"/>
          </p:nvPr>
        </p:nvSpPr>
        <p:spPr>
          <a:xfrm>
            <a:off x="798514" y="1645033"/>
            <a:ext cx="2443162" cy="4062030"/>
          </a:xfrm>
        </p:spPr>
        <p:txBody>
          <a:bodyPr/>
          <a:lstStyle>
            <a:lvl4pPr>
              <a:defRPr sz="1400"/>
            </a:lvl4pPr>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Text Placeholder 6">
            <a:extLst>
              <a:ext uri="{FF2B5EF4-FFF2-40B4-BE49-F238E27FC236}">
                <a16:creationId xmlns:a16="http://schemas.microsoft.com/office/drawing/2014/main" id="{9159BA8D-3D13-45A1-A0BE-92A0162F204C}"/>
              </a:ext>
            </a:extLst>
          </p:cNvPr>
          <p:cNvSpPr>
            <a:spLocks noGrp="1"/>
          </p:cNvSpPr>
          <p:nvPr>
            <p:ph type="body" sz="quarter" idx="14" hasCustomPrompt="1"/>
          </p:nvPr>
        </p:nvSpPr>
        <p:spPr>
          <a:xfrm>
            <a:off x="4056063" y="5390147"/>
            <a:ext cx="7331075"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4056063" y="537029"/>
            <a:ext cx="7331075" cy="4853118"/>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7" name="Footer Placeholder 4">
            <a:extLst>
              <a:ext uri="{FF2B5EF4-FFF2-40B4-BE49-F238E27FC236}">
                <a16:creationId xmlns:a16="http://schemas.microsoft.com/office/drawing/2014/main" id="{E7D9B79D-FD5C-45BD-97EA-6B24E7C00453}"/>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9" name="Date_DateCustomA">
            <a:extLst>
              <a:ext uri="{FF2B5EF4-FFF2-40B4-BE49-F238E27FC236}">
                <a16:creationId xmlns:a16="http://schemas.microsoft.com/office/drawing/2014/main" id="{11E666E0-9E5A-4A77-8B2D-91C35C22746F}"/>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2EEB1991-01A7-4A1C-9C66-872C05E5583D}" type="datetime1">
              <a:rPr lang="en-GB" smtClean="0"/>
              <a:t>04/03/2024</a:t>
            </a:fld>
            <a:endParaRPr lang="en-GB"/>
          </a:p>
        </p:txBody>
      </p:sp>
    </p:spTree>
    <p:extLst>
      <p:ext uri="{BB962C8B-B14F-4D97-AF65-F5344CB8AC3E}">
        <p14:creationId xmlns:p14="http://schemas.microsoft.com/office/powerpoint/2010/main" val="11064431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bright image ">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645FE9CD-1ED4-4BAB-A2E6-81FAE97D5AA5}"/>
              </a:ext>
            </a:extLst>
          </p:cNvPr>
          <p:cNvSpPr>
            <a:spLocks noGrp="1"/>
          </p:cNvSpPr>
          <p:nvPr>
            <p:ph type="pic" sz="quarter" idx="10" hasCustomPrompt="1"/>
          </p:nvPr>
        </p:nvSpPr>
        <p:spPr>
          <a:xfrm>
            <a:off x="0" y="0"/>
            <a:ext cx="12190413" cy="6859588"/>
          </a:xfrm>
          <a:noFill/>
          <a:ln>
            <a:noFill/>
          </a:ln>
        </p:spPr>
        <p:txBody>
          <a:bodyPr tIns="0" anchor="t" anchorCtr="0"/>
          <a:lstStyle>
            <a:lvl1pPr algn="ctr">
              <a:buNone/>
              <a:defRPr>
                <a:solidFill>
                  <a:schemeClr val="tx1"/>
                </a:solidFill>
              </a:defRPr>
            </a:lvl1pPr>
          </a:lstStyle>
          <a:p>
            <a:r>
              <a:rPr lang="en-GB" noProof="0"/>
              <a:t>Mark placeholder to insert image</a:t>
            </a:r>
          </a:p>
        </p:txBody>
      </p:sp>
      <p:sp>
        <p:nvSpPr>
          <p:cNvPr id="13" name="FLD_PresentationTitle">
            <a:extLst>
              <a:ext uri="{FF2B5EF4-FFF2-40B4-BE49-F238E27FC236}">
                <a16:creationId xmlns:a16="http://schemas.microsoft.com/office/drawing/2014/main" id="{14D760D6-4511-4FB6-834E-914C8197AE93}"/>
              </a:ext>
            </a:extLst>
          </p:cNvPr>
          <p:cNvSpPr>
            <a:spLocks noGrp="1"/>
          </p:cNvSpPr>
          <p:nvPr>
            <p:ph type="ctrTitle" hasCustomPrompt="1"/>
          </p:nvPr>
        </p:nvSpPr>
        <p:spPr>
          <a:xfrm>
            <a:off x="798513" y="409569"/>
            <a:ext cx="9772651" cy="681548"/>
          </a:xfrm>
        </p:spPr>
        <p:txBody>
          <a:bodyPr tIns="0" anchor="t" anchorCtr="0"/>
          <a:lstStyle>
            <a:lvl1pPr>
              <a:defRPr sz="4800" cap="all" spc="-150" baseline="0" smtClean="0">
                <a:solidFill>
                  <a:schemeClr val="tx1"/>
                </a:solidFill>
                <a:latin typeface="Verdana" pitchFamily="34" charset="0"/>
              </a:defRPr>
            </a:lvl1pPr>
          </a:lstStyle>
          <a:p>
            <a:endParaRPr/>
          </a:p>
        </p:txBody>
      </p:sp>
      <p:sp>
        <p:nvSpPr>
          <p:cNvPr id="15" name="FLD_PresentationTitle_2">
            <a:extLst>
              <a:ext uri="{FF2B5EF4-FFF2-40B4-BE49-F238E27FC236}">
                <a16:creationId xmlns:a16="http://schemas.microsoft.com/office/drawing/2014/main" id="{97052B4B-9CE9-499F-8A38-BF912EBD1177}"/>
              </a:ext>
            </a:extLst>
          </p:cNvPr>
          <p:cNvSpPr>
            <a:spLocks noGrp="1" noChangeArrowheads="1"/>
          </p:cNvSpPr>
          <p:nvPr>
            <p:ph type="subTitle" sz="quarter" idx="1" hasCustomPrompt="1"/>
          </p:nvPr>
        </p:nvSpPr>
        <p:spPr>
          <a:xfrm>
            <a:off x="798512" y="1139744"/>
            <a:ext cx="9772191" cy="1254562"/>
          </a:xfrm>
        </p:spPr>
        <p:txBody>
          <a:bodyPr lIns="0"/>
          <a:lstStyle>
            <a:lvl1pPr marL="0" indent="0">
              <a:lnSpc>
                <a:spcPct val="100000"/>
              </a:lnSpc>
              <a:spcAft>
                <a:spcPts val="0"/>
              </a:spcAft>
              <a:buFontTx/>
              <a:buNone/>
              <a:defRPr sz="4800" b="1" cap="all" spc="-150" baseline="0" smtClean="0">
                <a:solidFill>
                  <a:schemeClr val="tx2"/>
                </a:solidFill>
                <a:latin typeface="Verdana" pitchFamily="34" charset="0"/>
              </a:defRPr>
            </a:lvl1pPr>
          </a:lstStyle>
          <a:p>
            <a:endParaRP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513" y="5020098"/>
            <a:ext cx="8136879" cy="1084262"/>
          </a:xfrm>
        </p:spPr>
        <p:txBody>
          <a:bodyPr lIns="0"/>
          <a:lstStyle>
            <a:lvl1pPr marL="0" indent="0">
              <a:buFont typeface="Arial" panose="020B0604020202020204" pitchFamily="34" charset="0"/>
              <a:buChar char="​"/>
              <a:defRPr sz="1600"/>
            </a:lvl1pPr>
          </a:lstStyle>
          <a:p>
            <a:pPr lvl="0"/>
            <a:endParaRPr lang="en-GB"/>
          </a:p>
        </p:txBody>
      </p:sp>
      <p:sp>
        <p:nvSpPr>
          <p:cNvPr id="7"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8"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16" name="Text Placeholder 15">
            <a:extLst>
              <a:ext uri="{FF2B5EF4-FFF2-40B4-BE49-F238E27FC236}">
                <a16:creationId xmlns:a16="http://schemas.microsoft.com/office/drawing/2014/main" id="{D3344F44-1D4C-407D-B0CE-FCFEE29BE51A}"/>
              </a:ext>
            </a:extLst>
          </p:cNvPr>
          <p:cNvSpPr>
            <a:spLocks noGrp="1"/>
          </p:cNvSpPr>
          <p:nvPr>
            <p:ph type="body" sz="quarter" idx="12" hasCustomPrompt="1"/>
          </p:nvPr>
        </p:nvSpPr>
        <p:spPr bwMode="auto">
          <a:xfrm>
            <a:off x="798513" y="6159600"/>
            <a:ext cx="1220400" cy="255600"/>
          </a:xfrm>
          <a:custGeom>
            <a:avLst/>
            <a:gdLst>
              <a:gd name="connsiteX0" fmla="*/ 10555461 w 20742935"/>
              <a:gd name="connsiteY0" fmla="*/ 2313797 h 4374000"/>
              <a:gd name="connsiteX1" fmla="*/ 11078393 w 20742935"/>
              <a:gd name="connsiteY1" fmla="*/ 2313797 h 4374000"/>
              <a:gd name="connsiteX2" fmla="*/ 11427013 w 20742935"/>
              <a:gd name="connsiteY2" fmla="*/ 2549249 h 4374000"/>
              <a:gd name="connsiteX3" fmla="*/ 11097761 w 20742935"/>
              <a:gd name="connsiteY3" fmla="*/ 2784701 h 4374000"/>
              <a:gd name="connsiteX4" fmla="*/ 10555461 w 20742935"/>
              <a:gd name="connsiteY4" fmla="*/ 2784701 h 4374000"/>
              <a:gd name="connsiteX5" fmla="*/ 10555461 w 20742935"/>
              <a:gd name="connsiteY5" fmla="*/ 2313797 h 4374000"/>
              <a:gd name="connsiteX6" fmla="*/ 5442357 w 20742935"/>
              <a:gd name="connsiteY6" fmla="*/ 1627063 h 4374000"/>
              <a:gd name="connsiteX7" fmla="*/ 5732875 w 20742935"/>
              <a:gd name="connsiteY7" fmla="*/ 2313797 h 4374000"/>
              <a:gd name="connsiteX8" fmla="*/ 5151840 w 20742935"/>
              <a:gd name="connsiteY8" fmla="*/ 2313797 h 4374000"/>
              <a:gd name="connsiteX9" fmla="*/ 2556552 w 20742935"/>
              <a:gd name="connsiteY9" fmla="*/ 1509337 h 4374000"/>
              <a:gd name="connsiteX10" fmla="*/ 3002012 w 20742935"/>
              <a:gd name="connsiteY10" fmla="*/ 1509337 h 4374000"/>
              <a:gd name="connsiteX11" fmla="*/ 3350633 w 20742935"/>
              <a:gd name="connsiteY11" fmla="*/ 1803652 h 4374000"/>
              <a:gd name="connsiteX12" fmla="*/ 3002012 w 20742935"/>
              <a:gd name="connsiteY12" fmla="*/ 2117588 h 4374000"/>
              <a:gd name="connsiteX13" fmla="*/ 2556552 w 20742935"/>
              <a:gd name="connsiteY13" fmla="*/ 2117588 h 4374000"/>
              <a:gd name="connsiteX14" fmla="*/ 2556552 w 20742935"/>
              <a:gd name="connsiteY14" fmla="*/ 1509337 h 4374000"/>
              <a:gd name="connsiteX15" fmla="*/ 10555461 w 20742935"/>
              <a:gd name="connsiteY15" fmla="*/ 1489716 h 4374000"/>
              <a:gd name="connsiteX16" fmla="*/ 11000921 w 20742935"/>
              <a:gd name="connsiteY16" fmla="*/ 1489716 h 4374000"/>
              <a:gd name="connsiteX17" fmla="*/ 11310807 w 20742935"/>
              <a:gd name="connsiteY17" fmla="*/ 1725168 h 4374000"/>
              <a:gd name="connsiteX18" fmla="*/ 10981553 w 20742935"/>
              <a:gd name="connsiteY18" fmla="*/ 1940999 h 4374000"/>
              <a:gd name="connsiteX19" fmla="*/ 10555461 w 20742935"/>
              <a:gd name="connsiteY19" fmla="*/ 1940999 h 4374000"/>
              <a:gd name="connsiteX20" fmla="*/ 10555461 w 20742935"/>
              <a:gd name="connsiteY20" fmla="*/ 1489716 h 4374000"/>
              <a:gd name="connsiteX21" fmla="*/ 10342417 w 20742935"/>
              <a:gd name="connsiteY21" fmla="*/ 1097297 h 4374000"/>
              <a:gd name="connsiteX22" fmla="*/ 10110001 w 20742935"/>
              <a:gd name="connsiteY22" fmla="*/ 1332749 h 4374000"/>
              <a:gd name="connsiteX23" fmla="*/ 10110001 w 20742935"/>
              <a:gd name="connsiteY23" fmla="*/ 2941669 h 4374000"/>
              <a:gd name="connsiteX24" fmla="*/ 10342417 w 20742935"/>
              <a:gd name="connsiteY24" fmla="*/ 3177120 h 4374000"/>
              <a:gd name="connsiteX25" fmla="*/ 11097761 w 20742935"/>
              <a:gd name="connsiteY25" fmla="*/ 3177120 h 4374000"/>
              <a:gd name="connsiteX26" fmla="*/ 11872473 w 20742935"/>
              <a:gd name="connsiteY26" fmla="*/ 2608112 h 4374000"/>
              <a:gd name="connsiteX27" fmla="*/ 11485117 w 20742935"/>
              <a:gd name="connsiteY27" fmla="*/ 2097967 h 4374000"/>
              <a:gd name="connsiteX28" fmla="*/ 11756267 w 20742935"/>
              <a:gd name="connsiteY28" fmla="*/ 1627063 h 4374000"/>
              <a:gd name="connsiteX29" fmla="*/ 11620693 w 20742935"/>
              <a:gd name="connsiteY29" fmla="*/ 1273886 h 4374000"/>
              <a:gd name="connsiteX30" fmla="*/ 11078393 w 20742935"/>
              <a:gd name="connsiteY30" fmla="*/ 1097297 h 4374000"/>
              <a:gd name="connsiteX31" fmla="*/ 2324139 w 20742935"/>
              <a:gd name="connsiteY31" fmla="*/ 1097297 h 4374000"/>
              <a:gd name="connsiteX32" fmla="*/ 2091725 w 20742935"/>
              <a:gd name="connsiteY32" fmla="*/ 1332749 h 4374000"/>
              <a:gd name="connsiteX33" fmla="*/ 2091725 w 20742935"/>
              <a:gd name="connsiteY33" fmla="*/ 2961290 h 4374000"/>
              <a:gd name="connsiteX34" fmla="*/ 2324139 w 20742935"/>
              <a:gd name="connsiteY34" fmla="*/ 3196741 h 4374000"/>
              <a:gd name="connsiteX35" fmla="*/ 2556552 w 20742935"/>
              <a:gd name="connsiteY35" fmla="*/ 2961290 h 4374000"/>
              <a:gd name="connsiteX36" fmla="*/ 2556552 w 20742935"/>
              <a:gd name="connsiteY36" fmla="*/ 2510007 h 4374000"/>
              <a:gd name="connsiteX37" fmla="*/ 2905173 w 20742935"/>
              <a:gd name="connsiteY37" fmla="*/ 2510007 h 4374000"/>
              <a:gd name="connsiteX38" fmla="*/ 3350633 w 20742935"/>
              <a:gd name="connsiteY38" fmla="*/ 3079016 h 4374000"/>
              <a:gd name="connsiteX39" fmla="*/ 3563679 w 20742935"/>
              <a:gd name="connsiteY39" fmla="*/ 3196741 h 4374000"/>
              <a:gd name="connsiteX40" fmla="*/ 3796093 w 20742935"/>
              <a:gd name="connsiteY40" fmla="*/ 2980911 h 4374000"/>
              <a:gd name="connsiteX41" fmla="*/ 3718621 w 20742935"/>
              <a:gd name="connsiteY41" fmla="*/ 2804322 h 4374000"/>
              <a:gd name="connsiteX42" fmla="*/ 3408736 w 20742935"/>
              <a:gd name="connsiteY42" fmla="*/ 2431523 h 4374000"/>
              <a:gd name="connsiteX43" fmla="*/ 3815461 w 20742935"/>
              <a:gd name="connsiteY43" fmla="*/ 1784031 h 4374000"/>
              <a:gd name="connsiteX44" fmla="*/ 3641150 w 20742935"/>
              <a:gd name="connsiteY44" fmla="*/ 1313128 h 4374000"/>
              <a:gd name="connsiteX45" fmla="*/ 3040748 w 20742935"/>
              <a:gd name="connsiteY45" fmla="*/ 1097297 h 4374000"/>
              <a:gd name="connsiteX46" fmla="*/ 2324139 w 20742935"/>
              <a:gd name="connsiteY46" fmla="*/ 1097297 h 4374000"/>
              <a:gd name="connsiteX47" fmla="*/ 17799025 w 20742935"/>
              <a:gd name="connsiteY47" fmla="*/ 1077676 h 4374000"/>
              <a:gd name="connsiteX48" fmla="*/ 17585981 w 20742935"/>
              <a:gd name="connsiteY48" fmla="*/ 1313128 h 4374000"/>
              <a:gd name="connsiteX49" fmla="*/ 17585981 w 20742935"/>
              <a:gd name="connsiteY49" fmla="*/ 2941669 h 4374000"/>
              <a:gd name="connsiteX50" fmla="*/ 17799025 w 20742935"/>
              <a:gd name="connsiteY50" fmla="*/ 3177120 h 4374000"/>
              <a:gd name="connsiteX51" fmla="*/ 18883625 w 20742935"/>
              <a:gd name="connsiteY51" fmla="*/ 3177120 h 4374000"/>
              <a:gd name="connsiteX52" fmla="*/ 19077301 w 20742935"/>
              <a:gd name="connsiteY52" fmla="*/ 2980911 h 4374000"/>
              <a:gd name="connsiteX53" fmla="*/ 18883625 w 20742935"/>
              <a:gd name="connsiteY53" fmla="*/ 2765080 h 4374000"/>
              <a:gd name="connsiteX54" fmla="*/ 18031441 w 20742935"/>
              <a:gd name="connsiteY54" fmla="*/ 2765080 h 4374000"/>
              <a:gd name="connsiteX55" fmla="*/ 18031441 w 20742935"/>
              <a:gd name="connsiteY55" fmla="*/ 1313128 h 4374000"/>
              <a:gd name="connsiteX56" fmla="*/ 17799025 w 20742935"/>
              <a:gd name="connsiteY56" fmla="*/ 1077676 h 4374000"/>
              <a:gd name="connsiteX57" fmla="*/ 15707301 w 20742935"/>
              <a:gd name="connsiteY57" fmla="*/ 1077676 h 4374000"/>
              <a:gd name="connsiteX58" fmla="*/ 15474889 w 20742935"/>
              <a:gd name="connsiteY58" fmla="*/ 1313128 h 4374000"/>
              <a:gd name="connsiteX59" fmla="*/ 15474889 w 20742935"/>
              <a:gd name="connsiteY59" fmla="*/ 2941669 h 4374000"/>
              <a:gd name="connsiteX60" fmla="*/ 15707301 w 20742935"/>
              <a:gd name="connsiteY60" fmla="*/ 3177120 h 4374000"/>
              <a:gd name="connsiteX61" fmla="*/ 16772533 w 20742935"/>
              <a:gd name="connsiteY61" fmla="*/ 3177120 h 4374000"/>
              <a:gd name="connsiteX62" fmla="*/ 16985577 w 20742935"/>
              <a:gd name="connsiteY62" fmla="*/ 2980911 h 4374000"/>
              <a:gd name="connsiteX63" fmla="*/ 16772533 w 20742935"/>
              <a:gd name="connsiteY63" fmla="*/ 2765080 h 4374000"/>
              <a:gd name="connsiteX64" fmla="*/ 15939717 w 20742935"/>
              <a:gd name="connsiteY64" fmla="*/ 2765080 h 4374000"/>
              <a:gd name="connsiteX65" fmla="*/ 15939717 w 20742935"/>
              <a:gd name="connsiteY65" fmla="*/ 1313128 h 4374000"/>
              <a:gd name="connsiteX66" fmla="*/ 15707301 w 20742935"/>
              <a:gd name="connsiteY66" fmla="*/ 1077676 h 4374000"/>
              <a:gd name="connsiteX67" fmla="*/ 7417875 w 20742935"/>
              <a:gd name="connsiteY67" fmla="*/ 1077676 h 4374000"/>
              <a:gd name="connsiteX68" fmla="*/ 7166093 w 20742935"/>
              <a:gd name="connsiteY68" fmla="*/ 1293507 h 4374000"/>
              <a:gd name="connsiteX69" fmla="*/ 7166093 w 20742935"/>
              <a:gd name="connsiteY69" fmla="*/ 2961290 h 4374000"/>
              <a:gd name="connsiteX70" fmla="*/ 7398507 w 20742935"/>
              <a:gd name="connsiteY70" fmla="*/ 3196741 h 4374000"/>
              <a:gd name="connsiteX71" fmla="*/ 7611553 w 20742935"/>
              <a:gd name="connsiteY71" fmla="*/ 2961290 h 4374000"/>
              <a:gd name="connsiteX72" fmla="*/ 7611553 w 20742935"/>
              <a:gd name="connsiteY72" fmla="*/ 1940999 h 4374000"/>
              <a:gd name="connsiteX73" fmla="*/ 7998909 w 20742935"/>
              <a:gd name="connsiteY73" fmla="*/ 2549249 h 4374000"/>
              <a:gd name="connsiteX74" fmla="*/ 8192589 w 20742935"/>
              <a:gd name="connsiteY74" fmla="*/ 2666975 h 4374000"/>
              <a:gd name="connsiteX75" fmla="*/ 8386265 w 20742935"/>
              <a:gd name="connsiteY75" fmla="*/ 2549249 h 4374000"/>
              <a:gd name="connsiteX76" fmla="*/ 8773621 w 20742935"/>
              <a:gd name="connsiteY76" fmla="*/ 1921378 h 4374000"/>
              <a:gd name="connsiteX77" fmla="*/ 8773621 w 20742935"/>
              <a:gd name="connsiteY77" fmla="*/ 2961290 h 4374000"/>
              <a:gd name="connsiteX78" fmla="*/ 9006037 w 20742935"/>
              <a:gd name="connsiteY78" fmla="*/ 3196741 h 4374000"/>
              <a:gd name="connsiteX79" fmla="*/ 9238449 w 20742935"/>
              <a:gd name="connsiteY79" fmla="*/ 2961290 h 4374000"/>
              <a:gd name="connsiteX80" fmla="*/ 9238449 w 20742935"/>
              <a:gd name="connsiteY80" fmla="*/ 1293507 h 4374000"/>
              <a:gd name="connsiteX81" fmla="*/ 8986669 w 20742935"/>
              <a:gd name="connsiteY81" fmla="*/ 1077676 h 4374000"/>
              <a:gd name="connsiteX82" fmla="*/ 8734887 w 20742935"/>
              <a:gd name="connsiteY82" fmla="*/ 1215023 h 4374000"/>
              <a:gd name="connsiteX83" fmla="*/ 8211955 w 20742935"/>
              <a:gd name="connsiteY83" fmla="*/ 2097967 h 4374000"/>
              <a:gd name="connsiteX84" fmla="*/ 7669657 w 20742935"/>
              <a:gd name="connsiteY84" fmla="*/ 1215023 h 4374000"/>
              <a:gd name="connsiteX85" fmla="*/ 7417875 w 20742935"/>
              <a:gd name="connsiteY85" fmla="*/ 1077676 h 4374000"/>
              <a:gd name="connsiteX86" fmla="*/ 5461725 w 20742935"/>
              <a:gd name="connsiteY86" fmla="*/ 1058055 h 4374000"/>
              <a:gd name="connsiteX87" fmla="*/ 5171208 w 20742935"/>
              <a:gd name="connsiteY87" fmla="*/ 1234644 h 4374000"/>
              <a:gd name="connsiteX88" fmla="*/ 4454599 w 20742935"/>
              <a:gd name="connsiteY88" fmla="*/ 2882806 h 4374000"/>
              <a:gd name="connsiteX89" fmla="*/ 4435231 w 20742935"/>
              <a:gd name="connsiteY89" fmla="*/ 3000532 h 4374000"/>
              <a:gd name="connsiteX90" fmla="*/ 4648277 w 20742935"/>
              <a:gd name="connsiteY90" fmla="*/ 3196741 h 4374000"/>
              <a:gd name="connsiteX91" fmla="*/ 4841955 w 20742935"/>
              <a:gd name="connsiteY91" fmla="*/ 3059395 h 4374000"/>
              <a:gd name="connsiteX92" fmla="*/ 4996897 w 20742935"/>
              <a:gd name="connsiteY92" fmla="*/ 2706217 h 4374000"/>
              <a:gd name="connsiteX93" fmla="*/ 5907185 w 20742935"/>
              <a:gd name="connsiteY93" fmla="*/ 2706217 h 4374000"/>
              <a:gd name="connsiteX94" fmla="*/ 6042760 w 20742935"/>
              <a:gd name="connsiteY94" fmla="*/ 3059395 h 4374000"/>
              <a:gd name="connsiteX95" fmla="*/ 6255805 w 20742935"/>
              <a:gd name="connsiteY95" fmla="*/ 3196741 h 4374000"/>
              <a:gd name="connsiteX96" fmla="*/ 6468853 w 20742935"/>
              <a:gd name="connsiteY96" fmla="*/ 3000532 h 4374000"/>
              <a:gd name="connsiteX97" fmla="*/ 6449485 w 20742935"/>
              <a:gd name="connsiteY97" fmla="*/ 2882806 h 4374000"/>
              <a:gd name="connsiteX98" fmla="*/ 5732875 w 20742935"/>
              <a:gd name="connsiteY98" fmla="*/ 1234644 h 4374000"/>
              <a:gd name="connsiteX99" fmla="*/ 5461725 w 20742935"/>
              <a:gd name="connsiteY99" fmla="*/ 1058055 h 4374000"/>
              <a:gd name="connsiteX100" fmla="*/ 847119 w 20742935"/>
              <a:gd name="connsiteY100" fmla="*/ 0 h 4374000"/>
              <a:gd name="connsiteX101" fmla="*/ 14021983 w 20742935"/>
              <a:gd name="connsiteY101" fmla="*/ 0 h 4374000"/>
              <a:gd name="connsiteX102" fmla="*/ 14021847 w 20742935"/>
              <a:gd name="connsiteY102" fmla="*/ 630 h 4374000"/>
              <a:gd name="connsiteX103" fmla="*/ 13789889 w 20742935"/>
              <a:gd name="connsiteY103" fmla="*/ 1077676 h 4374000"/>
              <a:gd name="connsiteX104" fmla="*/ 13615577 w 20742935"/>
              <a:gd name="connsiteY104" fmla="*/ 1058055 h 4374000"/>
              <a:gd name="connsiteX105" fmla="*/ 12511613 w 20742935"/>
              <a:gd name="connsiteY105" fmla="*/ 2137209 h 4374000"/>
              <a:gd name="connsiteX106" fmla="*/ 13596209 w 20742935"/>
              <a:gd name="connsiteY106" fmla="*/ 3216362 h 4374000"/>
              <a:gd name="connsiteX107" fmla="*/ 14700175 w 20742935"/>
              <a:gd name="connsiteY107" fmla="*/ 2137209 h 4374000"/>
              <a:gd name="connsiteX108" fmla="*/ 14583969 w 20742935"/>
              <a:gd name="connsiteY108" fmla="*/ 1646684 h 4374000"/>
              <a:gd name="connsiteX109" fmla="*/ 14196613 w 20742935"/>
              <a:gd name="connsiteY109" fmla="*/ 1940999 h 4374000"/>
              <a:gd name="connsiteX110" fmla="*/ 14235349 w 20742935"/>
              <a:gd name="connsiteY110" fmla="*/ 2137209 h 4374000"/>
              <a:gd name="connsiteX111" fmla="*/ 13615577 w 20742935"/>
              <a:gd name="connsiteY111" fmla="*/ 2784701 h 4374000"/>
              <a:gd name="connsiteX112" fmla="*/ 12976439 w 20742935"/>
              <a:gd name="connsiteY112" fmla="*/ 2137209 h 4374000"/>
              <a:gd name="connsiteX113" fmla="*/ 13596209 w 20742935"/>
              <a:gd name="connsiteY113" fmla="*/ 1489716 h 4374000"/>
              <a:gd name="connsiteX114" fmla="*/ 13693049 w 20742935"/>
              <a:gd name="connsiteY114" fmla="*/ 1489716 h 4374000"/>
              <a:gd name="connsiteX115" fmla="*/ 13518737 w 20742935"/>
              <a:gd name="connsiteY115" fmla="*/ 2274556 h 4374000"/>
              <a:gd name="connsiteX116" fmla="*/ 13576841 w 20742935"/>
              <a:gd name="connsiteY116" fmla="*/ 2313797 h 4374000"/>
              <a:gd name="connsiteX117" fmla="*/ 15302449 w 20742935"/>
              <a:gd name="connsiteY117" fmla="*/ 208867 h 4374000"/>
              <a:gd name="connsiteX118" fmla="*/ 15473677 w 20742935"/>
              <a:gd name="connsiteY118" fmla="*/ 0 h 4374000"/>
              <a:gd name="connsiteX119" fmla="*/ 19895817 w 20742935"/>
              <a:gd name="connsiteY119" fmla="*/ 0 h 4374000"/>
              <a:gd name="connsiteX120" fmla="*/ 20086775 w 20742935"/>
              <a:gd name="connsiteY120" fmla="*/ 11552 h 4374000"/>
              <a:gd name="connsiteX121" fmla="*/ 20739957 w 20742935"/>
              <a:gd name="connsiteY121" fmla="*/ 787481 h 4374000"/>
              <a:gd name="connsiteX122" fmla="*/ 20742935 w 20742935"/>
              <a:gd name="connsiteY122" fmla="*/ 901016 h 4374000"/>
              <a:gd name="connsiteX123" fmla="*/ 20742935 w 20742935"/>
              <a:gd name="connsiteY123" fmla="*/ 3471506 h 4374000"/>
              <a:gd name="connsiteX124" fmla="*/ 20739957 w 20742935"/>
              <a:gd name="connsiteY124" fmla="*/ 3585041 h 4374000"/>
              <a:gd name="connsiteX125" fmla="*/ 19871385 w 20742935"/>
              <a:gd name="connsiteY125" fmla="*/ 4374000 h 4374000"/>
              <a:gd name="connsiteX126" fmla="*/ 871552 w 20742935"/>
              <a:gd name="connsiteY126" fmla="*/ 4374000 h 4374000"/>
              <a:gd name="connsiteX127" fmla="*/ 0 w 20742935"/>
              <a:gd name="connsiteY127" fmla="*/ 3471435 h 4374000"/>
              <a:gd name="connsiteX128" fmla="*/ 0 w 20742935"/>
              <a:gd name="connsiteY128" fmla="*/ 901087 h 4374000"/>
              <a:gd name="connsiteX129" fmla="*/ 656161 w 20742935"/>
              <a:gd name="connsiteY129" fmla="*/ 11552 h 43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0742935" h="4374000">
                <a:moveTo>
                  <a:pt x="10555461" y="2313797"/>
                </a:moveTo>
                <a:cubicBezTo>
                  <a:pt x="10555461" y="2313797"/>
                  <a:pt x="10555461" y="2313797"/>
                  <a:pt x="11078393" y="2313797"/>
                </a:cubicBezTo>
                <a:cubicBezTo>
                  <a:pt x="11310807" y="2313797"/>
                  <a:pt x="11427013" y="2411902"/>
                  <a:pt x="11427013" y="2549249"/>
                </a:cubicBezTo>
                <a:cubicBezTo>
                  <a:pt x="11427013" y="2706217"/>
                  <a:pt x="11291439" y="2784701"/>
                  <a:pt x="11097761" y="2784701"/>
                </a:cubicBezTo>
                <a:cubicBezTo>
                  <a:pt x="11097761" y="2784701"/>
                  <a:pt x="11097761" y="2784701"/>
                  <a:pt x="10555461" y="2784701"/>
                </a:cubicBezTo>
                <a:cubicBezTo>
                  <a:pt x="10555461" y="2784701"/>
                  <a:pt x="10555461" y="2784701"/>
                  <a:pt x="10555461" y="2313797"/>
                </a:cubicBezTo>
                <a:close/>
                <a:moveTo>
                  <a:pt x="5442357" y="1627063"/>
                </a:moveTo>
                <a:cubicBezTo>
                  <a:pt x="5442357" y="1627063"/>
                  <a:pt x="5442357" y="1627063"/>
                  <a:pt x="5732875" y="2313797"/>
                </a:cubicBezTo>
                <a:cubicBezTo>
                  <a:pt x="5732875" y="2313797"/>
                  <a:pt x="5732875" y="2313797"/>
                  <a:pt x="5151840" y="2313797"/>
                </a:cubicBezTo>
                <a:close/>
                <a:moveTo>
                  <a:pt x="2556552" y="1509337"/>
                </a:moveTo>
                <a:cubicBezTo>
                  <a:pt x="2556552" y="1509337"/>
                  <a:pt x="2556552" y="1509337"/>
                  <a:pt x="3002012" y="1509337"/>
                </a:cubicBezTo>
                <a:cubicBezTo>
                  <a:pt x="3215058" y="1509337"/>
                  <a:pt x="3350633" y="1607442"/>
                  <a:pt x="3350633" y="1803652"/>
                </a:cubicBezTo>
                <a:cubicBezTo>
                  <a:pt x="3350633" y="1980241"/>
                  <a:pt x="3234426" y="2117588"/>
                  <a:pt x="3002012" y="2117588"/>
                </a:cubicBezTo>
                <a:cubicBezTo>
                  <a:pt x="3002012" y="2117588"/>
                  <a:pt x="3002012" y="2117588"/>
                  <a:pt x="2556552" y="2117588"/>
                </a:cubicBezTo>
                <a:cubicBezTo>
                  <a:pt x="2556552" y="2117588"/>
                  <a:pt x="2556552" y="2117588"/>
                  <a:pt x="2556552" y="1509337"/>
                </a:cubicBezTo>
                <a:close/>
                <a:moveTo>
                  <a:pt x="10555461" y="1489716"/>
                </a:moveTo>
                <a:cubicBezTo>
                  <a:pt x="10555461" y="1489716"/>
                  <a:pt x="10555461" y="1489716"/>
                  <a:pt x="11000921" y="1489716"/>
                </a:cubicBezTo>
                <a:cubicBezTo>
                  <a:pt x="11194601" y="1489716"/>
                  <a:pt x="11310807" y="1568200"/>
                  <a:pt x="11310807" y="1725168"/>
                </a:cubicBezTo>
                <a:cubicBezTo>
                  <a:pt x="11310807" y="1882136"/>
                  <a:pt x="11175233" y="1940999"/>
                  <a:pt x="10981553" y="1940999"/>
                </a:cubicBezTo>
                <a:cubicBezTo>
                  <a:pt x="10981553" y="1940999"/>
                  <a:pt x="10981553" y="1940999"/>
                  <a:pt x="10555461" y="1940999"/>
                </a:cubicBezTo>
                <a:cubicBezTo>
                  <a:pt x="10555461" y="1940999"/>
                  <a:pt x="10555461" y="1940999"/>
                  <a:pt x="10555461" y="1489716"/>
                </a:cubicBezTo>
                <a:close/>
                <a:moveTo>
                  <a:pt x="10342417" y="1097297"/>
                </a:moveTo>
                <a:cubicBezTo>
                  <a:pt x="10206841" y="1097297"/>
                  <a:pt x="10110001" y="1175781"/>
                  <a:pt x="10110001" y="1332749"/>
                </a:cubicBezTo>
                <a:cubicBezTo>
                  <a:pt x="10110001" y="1332749"/>
                  <a:pt x="10110001" y="1332749"/>
                  <a:pt x="10110001" y="2941669"/>
                </a:cubicBezTo>
                <a:cubicBezTo>
                  <a:pt x="10110001" y="3098637"/>
                  <a:pt x="10206841" y="3177120"/>
                  <a:pt x="10342417" y="3177120"/>
                </a:cubicBezTo>
                <a:cubicBezTo>
                  <a:pt x="10342417" y="3177120"/>
                  <a:pt x="10342417" y="3177120"/>
                  <a:pt x="11097761" y="3177120"/>
                </a:cubicBezTo>
                <a:cubicBezTo>
                  <a:pt x="11562589" y="3177120"/>
                  <a:pt x="11872473" y="3000532"/>
                  <a:pt x="11872473" y="2608112"/>
                </a:cubicBezTo>
                <a:cubicBezTo>
                  <a:pt x="11872473" y="2313797"/>
                  <a:pt x="11717531" y="2176451"/>
                  <a:pt x="11485117" y="2097967"/>
                </a:cubicBezTo>
                <a:cubicBezTo>
                  <a:pt x="11640061" y="1999862"/>
                  <a:pt x="11756267" y="1882136"/>
                  <a:pt x="11756267" y="1627063"/>
                </a:cubicBezTo>
                <a:cubicBezTo>
                  <a:pt x="11756267" y="1489716"/>
                  <a:pt x="11717531" y="1371991"/>
                  <a:pt x="11620693" y="1273886"/>
                </a:cubicBezTo>
                <a:cubicBezTo>
                  <a:pt x="11504485" y="1156160"/>
                  <a:pt x="11310807" y="1097297"/>
                  <a:pt x="11078393" y="1097297"/>
                </a:cubicBezTo>
                <a:close/>
                <a:moveTo>
                  <a:pt x="2324139" y="1097297"/>
                </a:moveTo>
                <a:cubicBezTo>
                  <a:pt x="2188564" y="1097297"/>
                  <a:pt x="2091725" y="1175781"/>
                  <a:pt x="2091725" y="1332749"/>
                </a:cubicBezTo>
                <a:lnTo>
                  <a:pt x="2091725" y="2961290"/>
                </a:lnTo>
                <a:cubicBezTo>
                  <a:pt x="2091725" y="3118258"/>
                  <a:pt x="2188564" y="3196741"/>
                  <a:pt x="2324139" y="3196741"/>
                </a:cubicBezTo>
                <a:cubicBezTo>
                  <a:pt x="2459713" y="3196741"/>
                  <a:pt x="2556552" y="3118258"/>
                  <a:pt x="2556552" y="2961290"/>
                </a:cubicBezTo>
                <a:cubicBezTo>
                  <a:pt x="2556552" y="2961290"/>
                  <a:pt x="2556552" y="2961290"/>
                  <a:pt x="2556552" y="2510007"/>
                </a:cubicBezTo>
                <a:cubicBezTo>
                  <a:pt x="2556552" y="2510007"/>
                  <a:pt x="2556552" y="2510007"/>
                  <a:pt x="2905173" y="2510007"/>
                </a:cubicBezTo>
                <a:cubicBezTo>
                  <a:pt x="2905173" y="2510007"/>
                  <a:pt x="2905173" y="2510007"/>
                  <a:pt x="3350633" y="3079016"/>
                </a:cubicBezTo>
                <a:cubicBezTo>
                  <a:pt x="3408736" y="3157500"/>
                  <a:pt x="3466840" y="3196741"/>
                  <a:pt x="3563679" y="3196741"/>
                </a:cubicBezTo>
                <a:cubicBezTo>
                  <a:pt x="3679886" y="3196741"/>
                  <a:pt x="3796093" y="3098637"/>
                  <a:pt x="3796093" y="2980911"/>
                </a:cubicBezTo>
                <a:cubicBezTo>
                  <a:pt x="3796093" y="2902427"/>
                  <a:pt x="3757357" y="2863185"/>
                  <a:pt x="3718621" y="2804322"/>
                </a:cubicBezTo>
                <a:cubicBezTo>
                  <a:pt x="3718621" y="2804322"/>
                  <a:pt x="3718621" y="2804322"/>
                  <a:pt x="3408736" y="2431523"/>
                </a:cubicBezTo>
                <a:cubicBezTo>
                  <a:pt x="3660518" y="2313797"/>
                  <a:pt x="3815461" y="2117588"/>
                  <a:pt x="3815461" y="1784031"/>
                </a:cubicBezTo>
                <a:cubicBezTo>
                  <a:pt x="3815461" y="1587821"/>
                  <a:pt x="3757357" y="1430854"/>
                  <a:pt x="3641150" y="1313128"/>
                </a:cubicBezTo>
                <a:cubicBezTo>
                  <a:pt x="3505575" y="1175781"/>
                  <a:pt x="3311897" y="1097297"/>
                  <a:pt x="3040748" y="1097297"/>
                </a:cubicBezTo>
                <a:cubicBezTo>
                  <a:pt x="3040748" y="1097297"/>
                  <a:pt x="3040748" y="1097297"/>
                  <a:pt x="2324139" y="1097297"/>
                </a:cubicBezTo>
                <a:close/>
                <a:moveTo>
                  <a:pt x="17799025" y="1077676"/>
                </a:moveTo>
                <a:cubicBezTo>
                  <a:pt x="17682821" y="1077676"/>
                  <a:pt x="17585981" y="1156160"/>
                  <a:pt x="17585981" y="1313128"/>
                </a:cubicBezTo>
                <a:cubicBezTo>
                  <a:pt x="17585981" y="1313128"/>
                  <a:pt x="17585981" y="1313128"/>
                  <a:pt x="17585981" y="2941669"/>
                </a:cubicBezTo>
                <a:cubicBezTo>
                  <a:pt x="17585981" y="3098637"/>
                  <a:pt x="17682821" y="3177120"/>
                  <a:pt x="17799025" y="3177120"/>
                </a:cubicBezTo>
                <a:lnTo>
                  <a:pt x="18883625" y="3177120"/>
                </a:lnTo>
                <a:cubicBezTo>
                  <a:pt x="18999833" y="3177120"/>
                  <a:pt x="19077301" y="3098637"/>
                  <a:pt x="19077301" y="2980911"/>
                </a:cubicBezTo>
                <a:cubicBezTo>
                  <a:pt x="19077301" y="2843564"/>
                  <a:pt x="18999833" y="2765080"/>
                  <a:pt x="18883625" y="2765080"/>
                </a:cubicBezTo>
                <a:cubicBezTo>
                  <a:pt x="18883625" y="2765080"/>
                  <a:pt x="18883625" y="2765080"/>
                  <a:pt x="18031441" y="2765080"/>
                </a:cubicBezTo>
                <a:cubicBezTo>
                  <a:pt x="18031441" y="2765080"/>
                  <a:pt x="18031441" y="2765080"/>
                  <a:pt x="18031441" y="1313128"/>
                </a:cubicBezTo>
                <a:cubicBezTo>
                  <a:pt x="18031441" y="1156160"/>
                  <a:pt x="17934601" y="1077676"/>
                  <a:pt x="17799025" y="1077676"/>
                </a:cubicBezTo>
                <a:close/>
                <a:moveTo>
                  <a:pt x="15707301" y="1077676"/>
                </a:moveTo>
                <a:cubicBezTo>
                  <a:pt x="15571727" y="1077676"/>
                  <a:pt x="15474889" y="1156160"/>
                  <a:pt x="15474889" y="1313128"/>
                </a:cubicBezTo>
                <a:cubicBezTo>
                  <a:pt x="15474889" y="1313128"/>
                  <a:pt x="15474889" y="1313128"/>
                  <a:pt x="15474889" y="2941669"/>
                </a:cubicBezTo>
                <a:cubicBezTo>
                  <a:pt x="15474889" y="3098637"/>
                  <a:pt x="15571727" y="3177120"/>
                  <a:pt x="15707301" y="3177120"/>
                </a:cubicBezTo>
                <a:lnTo>
                  <a:pt x="16772533" y="3177120"/>
                </a:lnTo>
                <a:cubicBezTo>
                  <a:pt x="16888737" y="3177120"/>
                  <a:pt x="16985577" y="3098637"/>
                  <a:pt x="16985577" y="2980911"/>
                </a:cubicBezTo>
                <a:cubicBezTo>
                  <a:pt x="16985577" y="2843564"/>
                  <a:pt x="16888737" y="2765080"/>
                  <a:pt x="16772533" y="2765080"/>
                </a:cubicBezTo>
                <a:cubicBezTo>
                  <a:pt x="16772533" y="2765080"/>
                  <a:pt x="16772533" y="2765080"/>
                  <a:pt x="15939717" y="2765080"/>
                </a:cubicBezTo>
                <a:cubicBezTo>
                  <a:pt x="15939717" y="2765080"/>
                  <a:pt x="15939717" y="2765080"/>
                  <a:pt x="15939717" y="1313128"/>
                </a:cubicBezTo>
                <a:cubicBezTo>
                  <a:pt x="15939717" y="1156160"/>
                  <a:pt x="15842877" y="1077676"/>
                  <a:pt x="15707301" y="1077676"/>
                </a:cubicBezTo>
                <a:close/>
                <a:moveTo>
                  <a:pt x="7417875" y="1077676"/>
                </a:moveTo>
                <a:cubicBezTo>
                  <a:pt x="7301669" y="1077676"/>
                  <a:pt x="7166093" y="1156160"/>
                  <a:pt x="7166093" y="1293507"/>
                </a:cubicBezTo>
                <a:cubicBezTo>
                  <a:pt x="7166093" y="1293507"/>
                  <a:pt x="7166093" y="1293507"/>
                  <a:pt x="7166093" y="2961290"/>
                </a:cubicBezTo>
                <a:cubicBezTo>
                  <a:pt x="7166093" y="3118258"/>
                  <a:pt x="7262933" y="3196741"/>
                  <a:pt x="7398507" y="3196741"/>
                </a:cubicBezTo>
                <a:cubicBezTo>
                  <a:pt x="7514713" y="3196741"/>
                  <a:pt x="7611553" y="3118258"/>
                  <a:pt x="7611553" y="2961290"/>
                </a:cubicBezTo>
                <a:cubicBezTo>
                  <a:pt x="7611553" y="2961290"/>
                  <a:pt x="7611553" y="2961290"/>
                  <a:pt x="7611553" y="1940999"/>
                </a:cubicBezTo>
                <a:cubicBezTo>
                  <a:pt x="7611553" y="1940999"/>
                  <a:pt x="7611553" y="1940999"/>
                  <a:pt x="7998909" y="2549249"/>
                </a:cubicBezTo>
                <a:cubicBezTo>
                  <a:pt x="8057013" y="2627733"/>
                  <a:pt x="8115117" y="2666975"/>
                  <a:pt x="8192589" y="2666975"/>
                </a:cubicBezTo>
                <a:cubicBezTo>
                  <a:pt x="8289427" y="2666975"/>
                  <a:pt x="8347531" y="2627733"/>
                  <a:pt x="8386265" y="2549249"/>
                </a:cubicBezTo>
                <a:cubicBezTo>
                  <a:pt x="8386265" y="2549249"/>
                  <a:pt x="8386265" y="2549249"/>
                  <a:pt x="8773621" y="1921378"/>
                </a:cubicBezTo>
                <a:cubicBezTo>
                  <a:pt x="8773621" y="1921378"/>
                  <a:pt x="8773621" y="1921378"/>
                  <a:pt x="8773621" y="2961290"/>
                </a:cubicBezTo>
                <a:cubicBezTo>
                  <a:pt x="8773621" y="3118258"/>
                  <a:pt x="8870461" y="3196741"/>
                  <a:pt x="9006037" y="3196741"/>
                </a:cubicBezTo>
                <a:cubicBezTo>
                  <a:pt x="9141611" y="3196741"/>
                  <a:pt x="9238449" y="3118258"/>
                  <a:pt x="9238449" y="2961290"/>
                </a:cubicBezTo>
                <a:lnTo>
                  <a:pt x="9238449" y="1293507"/>
                </a:lnTo>
                <a:cubicBezTo>
                  <a:pt x="9238449" y="1156160"/>
                  <a:pt x="9102875" y="1077676"/>
                  <a:pt x="8986669" y="1077676"/>
                </a:cubicBezTo>
                <a:cubicBezTo>
                  <a:pt x="8870461" y="1077676"/>
                  <a:pt x="8792989" y="1116918"/>
                  <a:pt x="8734887" y="1215023"/>
                </a:cubicBezTo>
                <a:cubicBezTo>
                  <a:pt x="8734887" y="1215023"/>
                  <a:pt x="8734887" y="1215023"/>
                  <a:pt x="8211955" y="2097967"/>
                </a:cubicBezTo>
                <a:cubicBezTo>
                  <a:pt x="8211955" y="2097967"/>
                  <a:pt x="8211955" y="2097967"/>
                  <a:pt x="7669657" y="1215023"/>
                </a:cubicBezTo>
                <a:cubicBezTo>
                  <a:pt x="7611553" y="1116918"/>
                  <a:pt x="7534081" y="1077676"/>
                  <a:pt x="7417875" y="1077676"/>
                </a:cubicBezTo>
                <a:close/>
                <a:moveTo>
                  <a:pt x="5461725" y="1058055"/>
                </a:moveTo>
                <a:cubicBezTo>
                  <a:pt x="5306783" y="1058055"/>
                  <a:pt x="5229311" y="1136539"/>
                  <a:pt x="5171208" y="1234644"/>
                </a:cubicBezTo>
                <a:cubicBezTo>
                  <a:pt x="5171208" y="1234644"/>
                  <a:pt x="5171208" y="1234644"/>
                  <a:pt x="4454599" y="2882806"/>
                </a:cubicBezTo>
                <a:cubicBezTo>
                  <a:pt x="4435231" y="2922048"/>
                  <a:pt x="4435231" y="2961290"/>
                  <a:pt x="4435231" y="3000532"/>
                </a:cubicBezTo>
                <a:cubicBezTo>
                  <a:pt x="4435231" y="3118258"/>
                  <a:pt x="4532070" y="3196741"/>
                  <a:pt x="4648277" y="3196741"/>
                </a:cubicBezTo>
                <a:cubicBezTo>
                  <a:pt x="4745116" y="3196741"/>
                  <a:pt x="4803219" y="3157500"/>
                  <a:pt x="4841955" y="3059395"/>
                </a:cubicBezTo>
                <a:cubicBezTo>
                  <a:pt x="4841955" y="3059395"/>
                  <a:pt x="4841955" y="3059395"/>
                  <a:pt x="4996897" y="2706217"/>
                </a:cubicBezTo>
                <a:cubicBezTo>
                  <a:pt x="4996897" y="2706217"/>
                  <a:pt x="4996897" y="2706217"/>
                  <a:pt x="5907185" y="2706217"/>
                </a:cubicBezTo>
                <a:lnTo>
                  <a:pt x="6042760" y="3059395"/>
                </a:lnTo>
                <a:cubicBezTo>
                  <a:pt x="6081495" y="3157500"/>
                  <a:pt x="6158967" y="3196741"/>
                  <a:pt x="6255805" y="3196741"/>
                </a:cubicBezTo>
                <a:cubicBezTo>
                  <a:pt x="6372013" y="3196741"/>
                  <a:pt x="6468853" y="3118258"/>
                  <a:pt x="6468853" y="3000532"/>
                </a:cubicBezTo>
                <a:cubicBezTo>
                  <a:pt x="6468853" y="2961290"/>
                  <a:pt x="6468853" y="2922048"/>
                  <a:pt x="6449485" y="2882806"/>
                </a:cubicBezTo>
                <a:cubicBezTo>
                  <a:pt x="6449485" y="2882806"/>
                  <a:pt x="6449485" y="2882806"/>
                  <a:pt x="5732875" y="1234644"/>
                </a:cubicBezTo>
                <a:cubicBezTo>
                  <a:pt x="5674771" y="1136539"/>
                  <a:pt x="5597300" y="1058055"/>
                  <a:pt x="5461725" y="1058055"/>
                </a:cubicBezTo>
                <a:close/>
                <a:moveTo>
                  <a:pt x="847119" y="0"/>
                </a:moveTo>
                <a:lnTo>
                  <a:pt x="14021983" y="0"/>
                </a:lnTo>
                <a:lnTo>
                  <a:pt x="14021847" y="630"/>
                </a:lnTo>
                <a:cubicBezTo>
                  <a:pt x="14018669" y="15384"/>
                  <a:pt x="13993249" y="133416"/>
                  <a:pt x="13789889" y="1077676"/>
                </a:cubicBezTo>
                <a:cubicBezTo>
                  <a:pt x="13731785" y="1058055"/>
                  <a:pt x="13673681" y="1058055"/>
                  <a:pt x="13615577" y="1058055"/>
                </a:cubicBezTo>
                <a:cubicBezTo>
                  <a:pt x="12976439" y="1058055"/>
                  <a:pt x="12511613" y="1548579"/>
                  <a:pt x="12511613" y="2137209"/>
                </a:cubicBezTo>
                <a:cubicBezTo>
                  <a:pt x="12511613" y="2745459"/>
                  <a:pt x="12957071" y="3216362"/>
                  <a:pt x="13596209" y="3216362"/>
                </a:cubicBezTo>
                <a:cubicBezTo>
                  <a:pt x="14235349" y="3216362"/>
                  <a:pt x="14700175" y="2725838"/>
                  <a:pt x="14700175" y="2137209"/>
                </a:cubicBezTo>
                <a:cubicBezTo>
                  <a:pt x="14700175" y="1960620"/>
                  <a:pt x="14661441" y="1784031"/>
                  <a:pt x="14583969" y="1646684"/>
                </a:cubicBezTo>
                <a:cubicBezTo>
                  <a:pt x="14583969" y="1646684"/>
                  <a:pt x="14583969" y="1646684"/>
                  <a:pt x="14196613" y="1940999"/>
                </a:cubicBezTo>
                <a:cubicBezTo>
                  <a:pt x="14215981" y="1999862"/>
                  <a:pt x="14235349" y="2078346"/>
                  <a:pt x="14235349" y="2137209"/>
                </a:cubicBezTo>
                <a:cubicBezTo>
                  <a:pt x="14235349" y="2510007"/>
                  <a:pt x="13983565" y="2784701"/>
                  <a:pt x="13615577" y="2784701"/>
                </a:cubicBezTo>
                <a:cubicBezTo>
                  <a:pt x="13247589" y="2784701"/>
                  <a:pt x="12976439" y="2490386"/>
                  <a:pt x="12976439" y="2137209"/>
                </a:cubicBezTo>
                <a:cubicBezTo>
                  <a:pt x="12976439" y="1784031"/>
                  <a:pt x="13228221" y="1489716"/>
                  <a:pt x="13596209" y="1489716"/>
                </a:cubicBezTo>
                <a:cubicBezTo>
                  <a:pt x="13634945" y="1489716"/>
                  <a:pt x="13654313" y="1489716"/>
                  <a:pt x="13693049" y="1489716"/>
                </a:cubicBezTo>
                <a:cubicBezTo>
                  <a:pt x="13693049" y="1489716"/>
                  <a:pt x="13693049" y="1489716"/>
                  <a:pt x="13518737" y="2274556"/>
                </a:cubicBezTo>
                <a:cubicBezTo>
                  <a:pt x="13518737" y="2274556"/>
                  <a:pt x="13518737" y="2274556"/>
                  <a:pt x="13576841" y="2313797"/>
                </a:cubicBezTo>
                <a:cubicBezTo>
                  <a:pt x="13576841" y="2313797"/>
                  <a:pt x="13576841" y="2313797"/>
                  <a:pt x="15302449" y="208867"/>
                </a:cubicBezTo>
                <a:lnTo>
                  <a:pt x="15473677" y="0"/>
                </a:lnTo>
                <a:lnTo>
                  <a:pt x="19895817" y="0"/>
                </a:lnTo>
                <a:lnTo>
                  <a:pt x="20086775" y="11552"/>
                </a:lnTo>
                <a:cubicBezTo>
                  <a:pt x="20517065" y="68345"/>
                  <a:pt x="20714017" y="312956"/>
                  <a:pt x="20739957" y="787481"/>
                </a:cubicBezTo>
                <a:lnTo>
                  <a:pt x="20742935" y="901016"/>
                </a:lnTo>
                <a:lnTo>
                  <a:pt x="20742935" y="3471506"/>
                </a:lnTo>
                <a:lnTo>
                  <a:pt x="20739957" y="3585041"/>
                </a:lnTo>
                <a:cubicBezTo>
                  <a:pt x="20710027" y="4132570"/>
                  <a:pt x="20452417" y="4374000"/>
                  <a:pt x="19871385" y="4374000"/>
                </a:cubicBezTo>
                <a:lnTo>
                  <a:pt x="871552" y="4374000"/>
                </a:lnTo>
                <a:cubicBezTo>
                  <a:pt x="251782" y="4374000"/>
                  <a:pt x="0" y="4099306"/>
                  <a:pt x="0" y="3471435"/>
                </a:cubicBezTo>
                <a:cubicBezTo>
                  <a:pt x="0" y="3471435"/>
                  <a:pt x="0" y="3471435"/>
                  <a:pt x="0" y="901087"/>
                </a:cubicBezTo>
                <a:cubicBezTo>
                  <a:pt x="0" y="351700"/>
                  <a:pt x="192771" y="72714"/>
                  <a:pt x="656161" y="11552"/>
                </a:cubicBezTo>
                <a:close/>
              </a:path>
            </a:pathLst>
          </a:custGeom>
          <a:solidFill>
            <a:srgbClr val="009DF0"/>
          </a:solidFill>
          <a:ln w="9525">
            <a:noFill/>
            <a:miter lim="800000"/>
            <a:headEnd/>
            <a:tailEnd/>
          </a:ln>
          <a:effectLst/>
        </p:spPr>
        <p:txBody>
          <a:bodyPr wrap="square">
            <a:noAutofit/>
          </a:bodyPr>
          <a:lstStyle>
            <a:lvl1pPr marL="0" indent="0">
              <a:buNone/>
              <a:defRPr sz="100">
                <a:noFill/>
              </a:defRPr>
            </a:lvl1pPr>
            <a:lvl2pPr>
              <a:defRPr>
                <a:noFill/>
              </a:defRPr>
            </a:lvl2pPr>
            <a:lvl3pPr>
              <a:defRPr>
                <a:noFill/>
              </a:defRPr>
            </a:lvl3pPr>
            <a:lvl4pPr>
              <a:defRPr>
                <a:noFill/>
              </a:defRPr>
            </a:lvl4pPr>
            <a:lvl5pPr>
              <a:defRPr>
                <a:noFill/>
              </a:defRPr>
            </a:lvl5pPr>
          </a:lstStyle>
          <a:p>
            <a:pPr lvl="0"/>
            <a:r>
              <a:rPr lang="en-GB"/>
              <a:t>vel</a:t>
            </a:r>
          </a:p>
        </p:txBody>
      </p:sp>
      <p:sp>
        <p:nvSpPr>
          <p:cNvPr id="9" name="Slide Number Placeholder 5" hidden="1"/>
          <p:cNvSpPr>
            <a:spLocks noGrp="1"/>
          </p:cNvSpPr>
          <p:nvPr>
            <p:ph type="sldNum" sz="quarter" idx="4"/>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17" name="Footer Placeholder 4" hidden="1">
            <a:extLst>
              <a:ext uri="{FF2B5EF4-FFF2-40B4-BE49-F238E27FC236}">
                <a16:creationId xmlns:a16="http://schemas.microsoft.com/office/drawing/2014/main" id="{32F99A81-D9A2-4F30-8989-49FBFDFFBC22}"/>
              </a:ext>
            </a:extLst>
          </p:cNvPr>
          <p:cNvSpPr>
            <a:spLocks noGrp="1"/>
          </p:cNvSpPr>
          <p:nvPr>
            <p:ph type="ftr" sz="quarter" idx="3"/>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18" name="Date_DateCustomA" hidden="1">
            <a:extLst>
              <a:ext uri="{FF2B5EF4-FFF2-40B4-BE49-F238E27FC236}">
                <a16:creationId xmlns:a16="http://schemas.microsoft.com/office/drawing/2014/main" id="{4677BC5A-C865-45E8-BEA2-32CF74611B59}"/>
              </a:ext>
            </a:extLst>
          </p:cNvPr>
          <p:cNvSpPr>
            <a:spLocks noGrp="1"/>
          </p:cNvSpPr>
          <p:nvPr>
            <p:ph type="dt" sz="half" idx="2"/>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nd image (C)">
    <p:spTree>
      <p:nvGrpSpPr>
        <p:cNvPr id="1" name=""/>
        <p:cNvGrpSpPr/>
        <p:nvPr/>
      </p:nvGrpSpPr>
      <p:grpSpPr>
        <a:xfrm>
          <a:off x="0" y="0"/>
          <a:ext cx="0" cy="0"/>
          <a:chOff x="0" y="0"/>
          <a:chExt cx="0" cy="0"/>
        </a:xfrm>
      </p:grpSpPr>
      <p:sp>
        <p:nvSpPr>
          <p:cNvPr id="4" name="Title 1"/>
          <p:cNvSpPr>
            <a:spLocks noGrp="1"/>
          </p:cNvSpPr>
          <p:nvPr>
            <p:ph type="title"/>
          </p:nvPr>
        </p:nvSpPr>
        <p:spPr>
          <a:xfrm>
            <a:off x="798513" y="452543"/>
            <a:ext cx="10588625" cy="748800"/>
          </a:xfrm>
        </p:spPr>
        <p:txBody>
          <a:bodyPr/>
          <a:lstStyle/>
          <a:p>
            <a:r>
              <a:rPr lang="en-GB"/>
              <a:t>Click to edit Master title styl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4839" y="1645033"/>
            <a:ext cx="5702299" cy="3745114"/>
          </a:xfrm>
          <a:solidFill>
            <a:srgbClr val="F6F6F4"/>
          </a:solidFill>
        </p:spPr>
        <p:txBody>
          <a:bodyPr tIns="0" anchor="t" anchorCtr="0"/>
          <a:lstStyle>
            <a:lvl1pPr>
              <a:buNone/>
              <a:defRPr/>
            </a:lvl1pPr>
          </a:lstStyle>
          <a:p>
            <a:r>
              <a:rPr lang="en-GB" noProof="0"/>
              <a:t>Mark placeholder to insert image</a:t>
            </a:r>
          </a:p>
        </p:txBody>
      </p:sp>
      <p:sp>
        <p:nvSpPr>
          <p:cNvPr id="13" name="Content Placeholder 2">
            <a:extLst>
              <a:ext uri="{FF2B5EF4-FFF2-40B4-BE49-F238E27FC236}">
                <a16:creationId xmlns:a16="http://schemas.microsoft.com/office/drawing/2014/main" id="{BBB1DDA8-1E6E-4FBF-BB03-A4586ACC43CE}"/>
              </a:ext>
            </a:extLst>
          </p:cNvPr>
          <p:cNvSpPr>
            <a:spLocks noGrp="1"/>
          </p:cNvSpPr>
          <p:nvPr>
            <p:ph idx="12" hasCustomPrompt="1"/>
          </p:nvPr>
        </p:nvSpPr>
        <p:spPr>
          <a:xfrm>
            <a:off x="798513" y="1645033"/>
            <a:ext cx="4071937" cy="4063354"/>
          </a:xfrm>
        </p:spPr>
        <p:txBody>
          <a:bodyPr/>
          <a:lstStyle>
            <a:lvl4pPr>
              <a:defRPr sz="1400"/>
            </a:lvl4pPr>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6">
            <a:extLst>
              <a:ext uri="{FF2B5EF4-FFF2-40B4-BE49-F238E27FC236}">
                <a16:creationId xmlns:a16="http://schemas.microsoft.com/office/drawing/2014/main" id="{385A6CB6-503A-43E4-95E9-49CCA6BE0AA8}"/>
              </a:ext>
            </a:extLst>
          </p:cNvPr>
          <p:cNvSpPr>
            <a:spLocks noGrp="1"/>
          </p:cNvSpPr>
          <p:nvPr>
            <p:ph type="body" sz="quarter" idx="14" hasCustomPrompt="1"/>
          </p:nvPr>
        </p:nvSpPr>
        <p:spPr>
          <a:xfrm>
            <a:off x="5684838" y="5390147"/>
            <a:ext cx="5702300"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p>
        </p:txBody>
      </p:sp>
      <p:sp>
        <p:nvSpPr>
          <p:cNvPr id="7" name="Footer Placeholder 4">
            <a:extLst>
              <a:ext uri="{FF2B5EF4-FFF2-40B4-BE49-F238E27FC236}">
                <a16:creationId xmlns:a16="http://schemas.microsoft.com/office/drawing/2014/main" id="{5BE177DB-3D97-4178-B41E-C5E88E6EF6FE}"/>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1" name="Date_DateCustomA">
            <a:extLst>
              <a:ext uri="{FF2B5EF4-FFF2-40B4-BE49-F238E27FC236}">
                <a16:creationId xmlns:a16="http://schemas.microsoft.com/office/drawing/2014/main" id="{A29EE775-E260-4614-9C8B-28623B33C6B7}"/>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310C8F63-746D-49AA-89DD-F720C3C3E8E3}" type="datetime1">
              <a:rPr lang="en-GB" smtClean="0"/>
              <a:t>04/03/2024</a:t>
            </a:fld>
            <a:endParaRPr lang="en-GB"/>
          </a:p>
        </p:txBody>
      </p:sp>
    </p:spTree>
    <p:extLst>
      <p:ext uri="{BB962C8B-B14F-4D97-AF65-F5344CB8AC3E}">
        <p14:creationId xmlns:p14="http://schemas.microsoft.com/office/powerpoint/2010/main" val="28084997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4" y="1645033"/>
            <a:ext cx="2443162" cy="3745114"/>
          </a:xfrm>
          <a:solidFill>
            <a:srgbClr val="F6F6F4"/>
          </a:solidFill>
        </p:spPr>
        <p:txBody>
          <a:bodyPr tIns="0" anchor="t" anchorCtr="0"/>
          <a:lstStyle>
            <a:lvl1pPr marL="0" indent="0">
              <a:buNone/>
              <a:defRPr/>
            </a:lvl1pPr>
          </a:lstStyle>
          <a:p>
            <a:r>
              <a:rPr lang="en-GB" noProof="0"/>
              <a:t>Mark placeholder to insert image</a:t>
            </a:r>
          </a:p>
        </p:txBody>
      </p:sp>
      <p:sp>
        <p:nvSpPr>
          <p:cNvPr id="3" name="Title 2">
            <a:extLst>
              <a:ext uri="{FF2B5EF4-FFF2-40B4-BE49-F238E27FC236}">
                <a16:creationId xmlns:a16="http://schemas.microsoft.com/office/drawing/2014/main" id="{D10A7420-B42B-4A1E-801C-58F73E98E720}"/>
              </a:ext>
            </a:extLst>
          </p:cNvPr>
          <p:cNvSpPr>
            <a:spLocks noGrp="1"/>
          </p:cNvSpPr>
          <p:nvPr>
            <p:ph type="title"/>
          </p:nvPr>
        </p:nvSpPr>
        <p:spPr>
          <a:xfrm>
            <a:off x="798512" y="452543"/>
            <a:ext cx="10588625" cy="748800"/>
          </a:xfrm>
        </p:spPr>
        <p:txBody>
          <a:bodyPr/>
          <a:lstStyle/>
          <a:p>
            <a:r>
              <a:rPr lang="en-GB"/>
              <a:t>Click to edit Master title style</a:t>
            </a:r>
          </a:p>
        </p:txBody>
      </p:sp>
      <p:sp>
        <p:nvSpPr>
          <p:cNvPr id="6" name="Content Placeholder 2">
            <a:extLst>
              <a:ext uri="{FF2B5EF4-FFF2-40B4-BE49-F238E27FC236}">
                <a16:creationId xmlns:a16="http://schemas.microsoft.com/office/drawing/2014/main" id="{EE94D7C6-6298-49CF-9E54-6442A65BE7EB}"/>
              </a:ext>
            </a:extLst>
          </p:cNvPr>
          <p:cNvSpPr>
            <a:spLocks noGrp="1"/>
          </p:cNvSpPr>
          <p:nvPr>
            <p:ph idx="1" hasCustomPrompt="1"/>
          </p:nvPr>
        </p:nvSpPr>
        <p:spPr>
          <a:xfrm>
            <a:off x="4056063" y="1645033"/>
            <a:ext cx="7331075"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6">
            <a:extLst>
              <a:ext uri="{FF2B5EF4-FFF2-40B4-BE49-F238E27FC236}">
                <a16:creationId xmlns:a16="http://schemas.microsoft.com/office/drawing/2014/main" id="{36C9629C-CF41-41C8-B234-06D2B62B588B}"/>
              </a:ext>
            </a:extLst>
          </p:cNvPr>
          <p:cNvSpPr>
            <a:spLocks noGrp="1"/>
          </p:cNvSpPr>
          <p:nvPr>
            <p:ph type="body" sz="quarter" idx="14" hasCustomPrompt="1"/>
          </p:nvPr>
        </p:nvSpPr>
        <p:spPr>
          <a:xfrm>
            <a:off x="796925" y="5390147"/>
            <a:ext cx="2444750"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7" name="Footer Placeholder 4">
            <a:extLst>
              <a:ext uri="{FF2B5EF4-FFF2-40B4-BE49-F238E27FC236}">
                <a16:creationId xmlns:a16="http://schemas.microsoft.com/office/drawing/2014/main" id="{F72ED723-2034-4873-8F5F-84CD3DF067D2}"/>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1" name="Date_DateCustomA">
            <a:extLst>
              <a:ext uri="{FF2B5EF4-FFF2-40B4-BE49-F238E27FC236}">
                <a16:creationId xmlns:a16="http://schemas.microsoft.com/office/drawing/2014/main" id="{70AABF26-1E97-4163-9AEB-8A08056A2CF2}"/>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07D9B8B2-2B26-4659-AFD3-8F852FE9A4D5}" type="datetime1">
              <a:rPr lang="en-GB" smtClean="0"/>
              <a:t>04/03/2024</a:t>
            </a:fld>
            <a:endParaRPr lang="en-GB"/>
          </a:p>
        </p:txBody>
      </p:sp>
    </p:spTree>
    <p:extLst>
      <p:ext uri="{BB962C8B-B14F-4D97-AF65-F5344CB8AC3E}">
        <p14:creationId xmlns:p14="http://schemas.microsoft.com/office/powerpoint/2010/main" val="26040784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 imag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4" y="537029"/>
            <a:ext cx="10588624" cy="4853117"/>
          </a:xfrm>
          <a:solidFill>
            <a:srgbClr val="F6F6F4"/>
          </a:solidFill>
        </p:spPr>
        <p:txBody>
          <a:bodyPr tIns="0" anchor="t" anchorCtr="0"/>
          <a:lstStyle>
            <a:lvl1pPr>
              <a:buNone/>
              <a:defRPr/>
            </a:lvl1pPr>
          </a:lstStyle>
          <a:p>
            <a:r>
              <a:rPr lang="en-GB" noProof="0"/>
              <a:t>Mark placeholder to insert image</a:t>
            </a:r>
          </a:p>
        </p:txBody>
      </p:sp>
      <p:sp>
        <p:nvSpPr>
          <p:cNvPr id="4" name="Title 1"/>
          <p:cNvSpPr>
            <a:spLocks noGrp="1"/>
          </p:cNvSpPr>
          <p:nvPr>
            <p:ph type="title"/>
          </p:nvPr>
        </p:nvSpPr>
        <p:spPr>
          <a:xfrm>
            <a:off x="1612900" y="906698"/>
            <a:ext cx="3257550" cy="2158049"/>
          </a:xfrm>
        </p:spPr>
        <p:txBody>
          <a:bodyPr/>
          <a:lstStyle/>
          <a:p>
            <a:r>
              <a:rPr lang="en-GB"/>
              <a:t>Click to edit Master title style</a:t>
            </a:r>
          </a:p>
        </p:txBody>
      </p:sp>
      <p:sp>
        <p:nvSpPr>
          <p:cNvPr id="6" name="Text Placeholder 6">
            <a:extLst>
              <a:ext uri="{FF2B5EF4-FFF2-40B4-BE49-F238E27FC236}">
                <a16:creationId xmlns:a16="http://schemas.microsoft.com/office/drawing/2014/main" id="{9159BA8D-3D13-45A1-A0BE-92A0162F204C}"/>
              </a:ext>
            </a:extLst>
          </p:cNvPr>
          <p:cNvSpPr>
            <a:spLocks noGrp="1"/>
          </p:cNvSpPr>
          <p:nvPr>
            <p:ph type="body" sz="quarter" idx="14" hasCustomPrompt="1"/>
          </p:nvPr>
        </p:nvSpPr>
        <p:spPr>
          <a:xfrm>
            <a:off x="796925" y="5390147"/>
            <a:ext cx="10590213"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7" name="Footer Placeholder 4">
            <a:extLst>
              <a:ext uri="{FF2B5EF4-FFF2-40B4-BE49-F238E27FC236}">
                <a16:creationId xmlns:a16="http://schemas.microsoft.com/office/drawing/2014/main" id="{040854D9-4A7F-43DD-ADEE-729ECE38A71B}"/>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9" name="Date_DateCustomA">
            <a:extLst>
              <a:ext uri="{FF2B5EF4-FFF2-40B4-BE49-F238E27FC236}">
                <a16:creationId xmlns:a16="http://schemas.microsoft.com/office/drawing/2014/main" id="{13B009AD-71AF-4311-AB8D-836DCA3740CC}"/>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A2D02C2F-C8D1-4CA6-BC85-74B401D907FB}" type="datetime1">
              <a:rPr lang="en-GB" smtClean="0"/>
              <a:t>04/03/2024</a:t>
            </a:fld>
            <a:endParaRPr lang="en-GB"/>
          </a:p>
        </p:txBody>
      </p:sp>
    </p:spTree>
    <p:extLst>
      <p:ext uri="{BB962C8B-B14F-4D97-AF65-F5344CB8AC3E}">
        <p14:creationId xmlns:p14="http://schemas.microsoft.com/office/powerpoint/2010/main" val="39104837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images (A)">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A48E567-47F5-4B08-99D6-069385ECECE3}"/>
              </a:ext>
            </a:extLst>
          </p:cNvPr>
          <p:cNvSpPr>
            <a:spLocks noGrp="1"/>
          </p:cNvSpPr>
          <p:nvPr>
            <p:ph type="title"/>
          </p:nvPr>
        </p:nvSpPr>
        <p:spPr>
          <a:xfrm>
            <a:off x="798512" y="452543"/>
            <a:ext cx="10588625" cy="748800"/>
          </a:xfrm>
        </p:spPr>
        <p:txBody>
          <a:bodyPr/>
          <a:lstStyle/>
          <a:p>
            <a:r>
              <a:rPr lang="en-GB"/>
              <a:t>Click to edit Master title style</a:t>
            </a:r>
          </a:p>
        </p:txBody>
      </p:sp>
      <p:sp>
        <p:nvSpPr>
          <p:cNvPr id="11" name="Text Placeholder 3">
            <a:extLst>
              <a:ext uri="{FF2B5EF4-FFF2-40B4-BE49-F238E27FC236}">
                <a16:creationId xmlns:a16="http://schemas.microsoft.com/office/drawing/2014/main" id="{E3950CBF-72E1-4385-99DA-211C9A719C86}"/>
              </a:ext>
            </a:extLst>
          </p:cNvPr>
          <p:cNvSpPr>
            <a:spLocks noGrp="1"/>
          </p:cNvSpPr>
          <p:nvPr>
            <p:ph type="body" sz="quarter" idx="18" hasCustomPrompt="1"/>
          </p:nvPr>
        </p:nvSpPr>
        <p:spPr>
          <a:xfrm>
            <a:off x="796925" y="5389081"/>
            <a:ext cx="4073525" cy="317981"/>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p>
        </p:txBody>
      </p:sp>
      <p:sp>
        <p:nvSpPr>
          <p:cNvPr id="5" name="Text Placeholder 4">
            <a:extLst>
              <a:ext uri="{FF2B5EF4-FFF2-40B4-BE49-F238E27FC236}">
                <a16:creationId xmlns:a16="http://schemas.microsoft.com/office/drawing/2014/main" id="{45D561B5-A7F3-463C-BD8C-C2813F3D379D}"/>
              </a:ext>
            </a:extLst>
          </p:cNvPr>
          <p:cNvSpPr>
            <a:spLocks noGrp="1"/>
          </p:cNvSpPr>
          <p:nvPr>
            <p:ph type="body" sz="quarter" idx="19" hasCustomPrompt="1"/>
          </p:nvPr>
        </p:nvSpPr>
        <p:spPr>
          <a:xfrm>
            <a:off x="5684838" y="5389082"/>
            <a:ext cx="5702300" cy="317981"/>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798513" y="1645033"/>
            <a:ext cx="4071937" cy="3744048"/>
          </a:xfrm>
          <a:solidFill>
            <a:srgbClr val="F6F6F4"/>
          </a:solidFill>
        </p:spPr>
        <p:txBody>
          <a:bodyPr tIns="0" anchor="t" anchorCtr="0"/>
          <a:lstStyle>
            <a:lvl1pPr>
              <a:buNone/>
              <a:defRPr/>
            </a:lvl1pPr>
          </a:lstStyle>
          <a:p>
            <a:r>
              <a:rPr lang="en-GB" noProof="0"/>
              <a:t>Mark placeholder to insert image</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4838" y="1645033"/>
            <a:ext cx="5702300" cy="3745114"/>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8" name="Footer Placeholder 4">
            <a:extLst>
              <a:ext uri="{FF2B5EF4-FFF2-40B4-BE49-F238E27FC236}">
                <a16:creationId xmlns:a16="http://schemas.microsoft.com/office/drawing/2014/main" id="{C5F701B6-51A4-429E-BAE7-303D346C10AB}"/>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2" name="Date_DateCustomA">
            <a:extLst>
              <a:ext uri="{FF2B5EF4-FFF2-40B4-BE49-F238E27FC236}">
                <a16:creationId xmlns:a16="http://schemas.microsoft.com/office/drawing/2014/main" id="{AF6FCEB8-934A-4A77-A838-C33FC03CC5FA}"/>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9317641B-8A6E-4000-8D18-8C26E74C5E0D}" type="datetime1">
              <a:rPr lang="en-GB" smtClean="0"/>
              <a:t>04/03/2024</a:t>
            </a:fld>
            <a:endParaRPr lang="en-GB"/>
          </a:p>
        </p:txBody>
      </p:sp>
    </p:spTree>
    <p:extLst>
      <p:ext uri="{BB962C8B-B14F-4D97-AF65-F5344CB8AC3E}">
        <p14:creationId xmlns:p14="http://schemas.microsoft.com/office/powerpoint/2010/main" val="11940087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images (B)">
    <p:spTree>
      <p:nvGrpSpPr>
        <p:cNvPr id="1" name=""/>
        <p:cNvGrpSpPr/>
        <p:nvPr/>
      </p:nvGrpSpPr>
      <p:grpSpPr>
        <a:xfrm>
          <a:off x="0" y="0"/>
          <a:ext cx="0" cy="0"/>
          <a:chOff x="0" y="0"/>
          <a:chExt cx="0" cy="0"/>
        </a:xfrm>
      </p:grpSpPr>
      <p:sp>
        <p:nvSpPr>
          <p:cNvPr id="4" name="Title 1"/>
          <p:cNvSpPr>
            <a:spLocks noGrp="1"/>
          </p:cNvSpPr>
          <p:nvPr>
            <p:ph type="title"/>
          </p:nvPr>
        </p:nvSpPr>
        <p:spPr>
          <a:xfrm>
            <a:off x="798514" y="452543"/>
            <a:ext cx="10588624" cy="748800"/>
          </a:xfrm>
        </p:spPr>
        <p:txBody>
          <a:bodyPr/>
          <a:lstStyle/>
          <a:p>
            <a:r>
              <a:rPr lang="en-GB"/>
              <a:t>Click to edit Master title style</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3" y="1645033"/>
            <a:ext cx="8143875" cy="3745114"/>
          </a:xfrm>
          <a:solidFill>
            <a:srgbClr val="F6F6F4"/>
          </a:solidFill>
        </p:spPr>
        <p:txBody>
          <a:bodyPr tIns="0" anchor="t" anchorCtr="0"/>
          <a:lstStyle>
            <a:lvl1pPr>
              <a:buNone/>
              <a:defRPr/>
            </a:lvl1pPr>
          </a:lstStyle>
          <a:p>
            <a:r>
              <a:rPr lang="en-GB" noProof="0"/>
              <a:t>Mark placeholder to insert image</a:t>
            </a:r>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513" y="5389082"/>
            <a:ext cx="8143875" cy="317981"/>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p>
        </p:txBody>
      </p:sp>
      <p:sp>
        <p:nvSpPr>
          <p:cNvPr id="12" name="Picture Placeholder 3">
            <a:extLst>
              <a:ext uri="{FF2B5EF4-FFF2-40B4-BE49-F238E27FC236}">
                <a16:creationId xmlns:a16="http://schemas.microsoft.com/office/drawing/2014/main" id="{89424118-58CD-42CA-86D2-8D172442E460}"/>
              </a:ext>
            </a:extLst>
          </p:cNvPr>
          <p:cNvSpPr>
            <a:spLocks noGrp="1"/>
          </p:cNvSpPr>
          <p:nvPr>
            <p:ph type="pic" sz="quarter" idx="17" hasCustomPrompt="1"/>
          </p:nvPr>
        </p:nvSpPr>
        <p:spPr>
          <a:xfrm>
            <a:off x="9756775" y="1645032"/>
            <a:ext cx="1630363" cy="3745115"/>
          </a:xfrm>
          <a:solidFill>
            <a:srgbClr val="F6F6F4"/>
          </a:solidFill>
        </p:spPr>
        <p:txBody>
          <a:bodyPr tIns="0" anchor="t" anchorCtr="0"/>
          <a:lstStyle>
            <a:lvl1pPr marL="0" indent="0">
              <a:buNone/>
              <a:defRPr/>
            </a:lvl1pPr>
          </a:lstStyle>
          <a:p>
            <a:r>
              <a:rPr lang="en-GB" noProof="0"/>
              <a:t>Mark placeholder to insert image</a:t>
            </a:r>
          </a:p>
        </p:txBody>
      </p:sp>
      <p:sp>
        <p:nvSpPr>
          <p:cNvPr id="8" name="Text Placeholder 4">
            <a:extLst>
              <a:ext uri="{FF2B5EF4-FFF2-40B4-BE49-F238E27FC236}">
                <a16:creationId xmlns:a16="http://schemas.microsoft.com/office/drawing/2014/main" id="{45AEC6E4-C3EF-4192-856D-9039F171C484}"/>
              </a:ext>
            </a:extLst>
          </p:cNvPr>
          <p:cNvSpPr>
            <a:spLocks noGrp="1"/>
          </p:cNvSpPr>
          <p:nvPr>
            <p:ph type="body" sz="quarter" idx="19" hasCustomPrompt="1"/>
          </p:nvPr>
        </p:nvSpPr>
        <p:spPr>
          <a:xfrm>
            <a:off x="9756775" y="5389082"/>
            <a:ext cx="1630363" cy="317981"/>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1" name="Footer Placeholder 4">
            <a:extLst>
              <a:ext uri="{FF2B5EF4-FFF2-40B4-BE49-F238E27FC236}">
                <a16:creationId xmlns:a16="http://schemas.microsoft.com/office/drawing/2014/main" id="{C5D31929-EC68-4BA9-818F-D9E7F43918EA}"/>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4" name="Date_DateCustomA">
            <a:extLst>
              <a:ext uri="{FF2B5EF4-FFF2-40B4-BE49-F238E27FC236}">
                <a16:creationId xmlns:a16="http://schemas.microsoft.com/office/drawing/2014/main" id="{F7836BF7-FD55-405A-874B-61C805C2E3C4}"/>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49976E51-1FC3-4474-950D-AA48067650FE}" type="datetime1">
              <a:rPr lang="en-GB" smtClean="0"/>
              <a:t>04/03/2024</a:t>
            </a:fld>
            <a:endParaRPr lang="en-GB"/>
          </a:p>
        </p:txBody>
      </p:sp>
    </p:spTree>
    <p:extLst>
      <p:ext uri="{BB962C8B-B14F-4D97-AF65-F5344CB8AC3E}">
        <p14:creationId xmlns:p14="http://schemas.microsoft.com/office/powerpoint/2010/main" val="28937825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images and fact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AD88E7-3B12-4449-81F1-3C8219EE77CB}"/>
              </a:ext>
            </a:extLst>
          </p:cNvPr>
          <p:cNvSpPr>
            <a:spLocks noGrp="1"/>
          </p:cNvSpPr>
          <p:nvPr>
            <p:ph type="title"/>
          </p:nvPr>
        </p:nvSpPr>
        <p:spPr>
          <a:xfrm>
            <a:off x="798512" y="452543"/>
            <a:ext cx="10588625" cy="748800"/>
          </a:xfrm>
        </p:spPr>
        <p:txBody>
          <a:bodyPr/>
          <a:lstStyle/>
          <a:p>
            <a:r>
              <a:rPr lang="en-GB"/>
              <a:t>Click to edit Master title style</a:t>
            </a:r>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514" y="5389082"/>
            <a:ext cx="3257550" cy="317981"/>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p>
        </p:txBody>
      </p:sp>
      <p:sp>
        <p:nvSpPr>
          <p:cNvPr id="11" name="Text Placeholder 4">
            <a:extLst>
              <a:ext uri="{FF2B5EF4-FFF2-40B4-BE49-F238E27FC236}">
                <a16:creationId xmlns:a16="http://schemas.microsoft.com/office/drawing/2014/main" id="{F7D20742-1518-4D1C-84E0-A50DB3F71AB2}"/>
              </a:ext>
            </a:extLst>
          </p:cNvPr>
          <p:cNvSpPr>
            <a:spLocks noGrp="1"/>
          </p:cNvSpPr>
          <p:nvPr>
            <p:ph type="body" sz="quarter" idx="25" hasCustomPrompt="1"/>
          </p:nvPr>
        </p:nvSpPr>
        <p:spPr>
          <a:xfrm>
            <a:off x="4870450" y="5389082"/>
            <a:ext cx="3257550" cy="317981"/>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4" y="1645033"/>
            <a:ext cx="3257550" cy="3745114"/>
          </a:xfrm>
          <a:solidFill>
            <a:srgbClr val="F6F6F4"/>
          </a:solidFill>
        </p:spPr>
        <p:txBody>
          <a:bodyPr tIns="0" anchor="t" anchorCtr="0"/>
          <a:lstStyle>
            <a:lvl1pPr marL="0" indent="0">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4870450" y="1645031"/>
            <a:ext cx="3257549" cy="3745116"/>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2" name="Text Placeholder 6">
            <a:extLst>
              <a:ext uri="{FF2B5EF4-FFF2-40B4-BE49-F238E27FC236}">
                <a16:creationId xmlns:a16="http://schemas.microsoft.com/office/drawing/2014/main" id="{2AD0405A-0FD7-4F0F-AF7F-B2047DF5CF9E}"/>
              </a:ext>
            </a:extLst>
          </p:cNvPr>
          <p:cNvSpPr>
            <a:spLocks noGrp="1"/>
          </p:cNvSpPr>
          <p:nvPr>
            <p:ph type="body" sz="quarter" idx="15" hasCustomPrompt="1"/>
          </p:nvPr>
        </p:nvSpPr>
        <p:spPr>
          <a:xfrm>
            <a:off x="8942387" y="1644771"/>
            <a:ext cx="2444751" cy="4063616"/>
          </a:xfrm>
        </p:spPr>
        <p:txBody>
          <a:bodyPr lIns="0"/>
          <a:lstStyle>
            <a:lvl1pPr marL="0" indent="0">
              <a:lnSpc>
                <a:spcPct val="80000"/>
              </a:lnSpc>
              <a:spcAft>
                <a:spcPts val="1200"/>
              </a:spcAft>
              <a:buFont typeface="Arial" panose="020B0604020202020204" pitchFamily="34" charset="0"/>
              <a:buChar char="​"/>
              <a:defRPr sz="4800" b="1" cap="all" spc="-150" baseline="0">
                <a:solidFill>
                  <a:schemeClr val="tx2"/>
                </a:solidFill>
              </a:defRPr>
            </a:lvl1pPr>
            <a:lvl2pPr marL="0" indent="0">
              <a:lnSpc>
                <a:spcPct val="100000"/>
              </a:lnSpc>
              <a:buFont typeface="Arial" panose="020B0604020202020204" pitchFamily="34" charset="0"/>
              <a:buChar char="​"/>
              <a:defRPr sz="1600" baseline="0">
                <a:solidFill>
                  <a:schemeClr val="tx2"/>
                </a:solidFill>
              </a:defRPr>
            </a:lvl2pPr>
            <a:lvl3pPr marL="252000" indent="-252000">
              <a:lnSpc>
                <a:spcPct val="100000"/>
              </a:lnSpc>
              <a:buFont typeface="Verdana" panose="020B0604030504040204" pitchFamily="34" charset="0"/>
              <a:buChar char="•"/>
              <a:defRPr sz="1600" i="0" baseline="0">
                <a:solidFill>
                  <a:schemeClr val="tx2"/>
                </a:solidFill>
              </a:defRPr>
            </a:lvl3pPr>
            <a:lvl4pPr marL="271463" indent="-271463">
              <a:lnSpc>
                <a:spcPct val="100000"/>
              </a:lnSpc>
              <a:buFont typeface="+mj-lt"/>
              <a:buAutoNum type="arabicPeriod"/>
              <a:defRPr sz="1600">
                <a:solidFill>
                  <a:schemeClr val="tx2"/>
                </a:solidFill>
              </a:defRPr>
            </a:lvl4pPr>
            <a:lvl5pPr marL="271463" indent="-271463">
              <a:lnSpc>
                <a:spcPct val="100000"/>
              </a:lnSpc>
              <a:buFont typeface="+mj-lt"/>
              <a:buAutoNum type="alphaUcPeriod"/>
              <a:defRPr sz="1600" b="0" cap="none" spc="-50" baseline="0">
                <a:solidFill>
                  <a:schemeClr val="tx2"/>
                </a:solidFill>
              </a:defRPr>
            </a:lvl5pPr>
            <a:lvl6pPr>
              <a:defRPr sz="1600"/>
            </a:lvl6pPr>
            <a:lvl7pPr>
              <a:defRPr sz="1600">
                <a:solidFill>
                  <a:schemeClr val="tx2"/>
                </a:solidFill>
              </a:defRPr>
            </a:lvl7pPr>
            <a:lvl8pPr marL="271463" indent="-271463">
              <a:buClr>
                <a:schemeClr val="tx2"/>
              </a:buClr>
              <a:buFont typeface="+mj-lt"/>
              <a:buAutoNum type="arabicParenR"/>
              <a:defRPr sz="1000">
                <a:solidFill>
                  <a:schemeClr val="tx2"/>
                </a:solidFill>
              </a:defRPr>
            </a:lvl8pPr>
            <a:lvl9pPr marL="271463" indent="-271463">
              <a:buClr>
                <a:schemeClr val="tx2"/>
              </a:buClr>
              <a:buFont typeface="+mj-lt"/>
              <a:buAutoNum type="alphaLcParenR"/>
              <a:defRPr sz="1000">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3" name="Footer Placeholder 4">
            <a:extLst>
              <a:ext uri="{FF2B5EF4-FFF2-40B4-BE49-F238E27FC236}">
                <a16:creationId xmlns:a16="http://schemas.microsoft.com/office/drawing/2014/main" id="{918E1753-D849-4306-90F0-AE9E3B1E439A}"/>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6" name="Date_DateCustomA">
            <a:extLst>
              <a:ext uri="{FF2B5EF4-FFF2-40B4-BE49-F238E27FC236}">
                <a16:creationId xmlns:a16="http://schemas.microsoft.com/office/drawing/2014/main" id="{4824DA6C-1660-454E-AE9F-DA89A04C5D00}"/>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19B1F6A8-6B7A-461C-8C18-9117AB04685F}" type="datetime1">
              <a:rPr lang="en-GB" smtClean="0"/>
              <a:t>04/03/2024</a:t>
            </a:fld>
            <a:endParaRPr lang="en-GB"/>
          </a:p>
        </p:txBody>
      </p:sp>
    </p:spTree>
    <p:extLst>
      <p:ext uri="{BB962C8B-B14F-4D97-AF65-F5344CB8AC3E}">
        <p14:creationId xmlns:p14="http://schemas.microsoft.com/office/powerpoint/2010/main" val="6349154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images (A)">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A0290B9-8984-4B63-9584-E3AE12BC8408}"/>
              </a:ext>
            </a:extLst>
          </p:cNvPr>
          <p:cNvSpPr>
            <a:spLocks noGrp="1"/>
          </p:cNvSpPr>
          <p:nvPr>
            <p:ph type="title"/>
          </p:nvPr>
        </p:nvSpPr>
        <p:spPr>
          <a:xfrm>
            <a:off x="798512" y="452543"/>
            <a:ext cx="10588625" cy="748800"/>
          </a:xfrm>
        </p:spPr>
        <p:txBody>
          <a:bodyPr/>
          <a:lstStyle/>
          <a:p>
            <a:r>
              <a:rPr lang="en-GB"/>
              <a:t>Click to edit Master title style</a:t>
            </a:r>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513" y="5389082"/>
            <a:ext cx="4886325" cy="317981"/>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p>
        </p:txBody>
      </p:sp>
      <p:sp>
        <p:nvSpPr>
          <p:cNvPr id="11" name="Text Placeholder 4">
            <a:extLst>
              <a:ext uri="{FF2B5EF4-FFF2-40B4-BE49-F238E27FC236}">
                <a16:creationId xmlns:a16="http://schemas.microsoft.com/office/drawing/2014/main" id="{A7ABCE10-41F5-4BFF-B780-36E38A40F95C}"/>
              </a:ext>
            </a:extLst>
          </p:cNvPr>
          <p:cNvSpPr>
            <a:spLocks noGrp="1"/>
          </p:cNvSpPr>
          <p:nvPr>
            <p:ph type="body" sz="quarter" idx="25" hasCustomPrompt="1"/>
          </p:nvPr>
        </p:nvSpPr>
        <p:spPr>
          <a:xfrm>
            <a:off x="6499224" y="5389082"/>
            <a:ext cx="2443164" cy="317982"/>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p>
        </p:txBody>
      </p:sp>
      <p:sp>
        <p:nvSpPr>
          <p:cNvPr id="5" name="Text Placeholder 5">
            <a:extLst>
              <a:ext uri="{FF2B5EF4-FFF2-40B4-BE49-F238E27FC236}">
                <a16:creationId xmlns:a16="http://schemas.microsoft.com/office/drawing/2014/main" id="{6B139212-6CFC-41D2-8FC4-04AFFFB5F675}"/>
              </a:ext>
            </a:extLst>
          </p:cNvPr>
          <p:cNvSpPr>
            <a:spLocks noGrp="1"/>
          </p:cNvSpPr>
          <p:nvPr>
            <p:ph type="body" sz="quarter" idx="26" hasCustomPrompt="1"/>
          </p:nvPr>
        </p:nvSpPr>
        <p:spPr>
          <a:xfrm>
            <a:off x="9756775" y="5389082"/>
            <a:ext cx="1630363" cy="317981"/>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3" y="1645033"/>
            <a:ext cx="4886325" cy="3745114"/>
          </a:xfrm>
          <a:solidFill>
            <a:srgbClr val="F6F6F4"/>
          </a:solidFill>
        </p:spPr>
        <p:txBody>
          <a:bodyPr tIns="0" anchor="t" anchorCtr="0"/>
          <a:lstStyle>
            <a:lvl1pPr>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6499225" y="1645031"/>
            <a:ext cx="2443162" cy="3745116"/>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6775" y="1645032"/>
            <a:ext cx="1630363" cy="3745115"/>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2" name="Footer Placeholder 4">
            <a:extLst>
              <a:ext uri="{FF2B5EF4-FFF2-40B4-BE49-F238E27FC236}">
                <a16:creationId xmlns:a16="http://schemas.microsoft.com/office/drawing/2014/main" id="{5874BC50-6BE9-4C0E-B354-8E1950E1DEC6}"/>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5" name="Date_DateCustomA">
            <a:extLst>
              <a:ext uri="{FF2B5EF4-FFF2-40B4-BE49-F238E27FC236}">
                <a16:creationId xmlns:a16="http://schemas.microsoft.com/office/drawing/2014/main" id="{A27BE1DC-8318-4E12-A678-697DBD2158D0}"/>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670B47BD-1B93-49E8-8F1A-50F28146FAEE}" type="datetime1">
              <a:rPr lang="en-GB" smtClean="0"/>
              <a:t>04/03/2024</a:t>
            </a:fld>
            <a:endParaRPr lang="en-GB"/>
          </a:p>
        </p:txBody>
      </p:sp>
    </p:spTree>
    <p:extLst>
      <p:ext uri="{BB962C8B-B14F-4D97-AF65-F5344CB8AC3E}">
        <p14:creationId xmlns:p14="http://schemas.microsoft.com/office/powerpoint/2010/main" val="23827418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images (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9AAF93-6D36-4195-82B9-DF0720EC521B}"/>
              </a:ext>
            </a:extLst>
          </p:cNvPr>
          <p:cNvSpPr>
            <a:spLocks noGrp="1"/>
          </p:cNvSpPr>
          <p:nvPr>
            <p:ph type="title"/>
          </p:nvPr>
        </p:nvSpPr>
        <p:spPr>
          <a:xfrm>
            <a:off x="798512" y="452543"/>
            <a:ext cx="10588625" cy="748800"/>
          </a:xfrm>
        </p:spPr>
        <p:txBody>
          <a:bodyPr/>
          <a:lstStyle/>
          <a:p>
            <a:r>
              <a:rPr lang="en-GB"/>
              <a:t>Click to edit Master title style</a:t>
            </a:r>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513" y="5389082"/>
            <a:ext cx="5700712"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p>
        </p:txBody>
      </p:sp>
      <p:sp>
        <p:nvSpPr>
          <p:cNvPr id="11" name="Text Placeholder 4">
            <a:extLst>
              <a:ext uri="{FF2B5EF4-FFF2-40B4-BE49-F238E27FC236}">
                <a16:creationId xmlns:a16="http://schemas.microsoft.com/office/drawing/2014/main" id="{3E2CB951-B63B-4713-9C55-151E8F70764A}"/>
              </a:ext>
            </a:extLst>
          </p:cNvPr>
          <p:cNvSpPr>
            <a:spLocks noGrp="1"/>
          </p:cNvSpPr>
          <p:nvPr>
            <p:ph type="body" sz="quarter" idx="25" hasCustomPrompt="1"/>
          </p:nvPr>
        </p:nvSpPr>
        <p:spPr>
          <a:xfrm>
            <a:off x="7313612" y="5389082"/>
            <a:ext cx="1628776"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p>
        </p:txBody>
      </p:sp>
      <p:sp>
        <p:nvSpPr>
          <p:cNvPr id="12" name="Text Placeholder 5">
            <a:extLst>
              <a:ext uri="{FF2B5EF4-FFF2-40B4-BE49-F238E27FC236}">
                <a16:creationId xmlns:a16="http://schemas.microsoft.com/office/drawing/2014/main" id="{4ABF96D0-72C6-404F-8711-EC888AA24B29}"/>
              </a:ext>
            </a:extLst>
          </p:cNvPr>
          <p:cNvSpPr>
            <a:spLocks noGrp="1"/>
          </p:cNvSpPr>
          <p:nvPr>
            <p:ph type="body" sz="quarter" idx="26" hasCustomPrompt="1"/>
          </p:nvPr>
        </p:nvSpPr>
        <p:spPr>
          <a:xfrm>
            <a:off x="9756775" y="5389082"/>
            <a:ext cx="1630363" cy="318240"/>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6925" y="1645033"/>
            <a:ext cx="5702300" cy="3745114"/>
          </a:xfrm>
          <a:solidFill>
            <a:srgbClr val="F6F6F4"/>
          </a:solidFill>
        </p:spPr>
        <p:txBody>
          <a:bodyPr tIns="0" anchor="t" anchorCtr="0"/>
          <a:lstStyle>
            <a:lvl1pPr>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3612" y="1645031"/>
            <a:ext cx="1628776" cy="3745116"/>
          </a:xfrm>
          <a:solidFill>
            <a:srgbClr val="F6F6F4"/>
          </a:solidFill>
        </p:spPr>
        <p:txBody>
          <a:bodyPr tIns="0" anchor="t" anchorCtr="0"/>
          <a:lstStyle>
            <a:lvl1pPr marL="0" indent="0">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6775" y="1645032"/>
            <a:ext cx="1630363" cy="3745115"/>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3" name="Footer Placeholder 4">
            <a:extLst>
              <a:ext uri="{FF2B5EF4-FFF2-40B4-BE49-F238E27FC236}">
                <a16:creationId xmlns:a16="http://schemas.microsoft.com/office/drawing/2014/main" id="{B6ABE9CB-A3E8-48D2-82D8-BB162FBC2ACE}"/>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6" name="Date_DateCustomA">
            <a:extLst>
              <a:ext uri="{FF2B5EF4-FFF2-40B4-BE49-F238E27FC236}">
                <a16:creationId xmlns:a16="http://schemas.microsoft.com/office/drawing/2014/main" id="{F8AC17EF-756D-46C0-9E6D-5F5BC146218E}"/>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98217C0B-9033-4A97-8B9B-43B4113B467B}" type="datetime1">
              <a:rPr lang="en-GB" smtClean="0"/>
              <a:t>04/03/2024</a:t>
            </a:fld>
            <a:endParaRPr lang="en-GB"/>
          </a:p>
        </p:txBody>
      </p:sp>
    </p:spTree>
    <p:extLst>
      <p:ext uri="{BB962C8B-B14F-4D97-AF65-F5344CB8AC3E}">
        <p14:creationId xmlns:p14="http://schemas.microsoft.com/office/powerpoint/2010/main" val="34492597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images (A)">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23A1CA0-6B95-4682-8F2B-A2CB29E9A06F}"/>
              </a:ext>
            </a:extLst>
          </p:cNvPr>
          <p:cNvSpPr>
            <a:spLocks noGrp="1"/>
          </p:cNvSpPr>
          <p:nvPr>
            <p:ph type="title"/>
          </p:nvPr>
        </p:nvSpPr>
        <p:spPr>
          <a:xfrm>
            <a:off x="798512" y="452543"/>
            <a:ext cx="10588625" cy="748800"/>
          </a:xfrm>
        </p:spPr>
        <p:txBody>
          <a:bodyPr/>
          <a:lstStyle/>
          <a:p>
            <a:r>
              <a:rPr lang="en-GB"/>
              <a:t>Click to edit Master title style</a:t>
            </a:r>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6925" y="5389082"/>
            <a:ext cx="5702299"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p>
        </p:txBody>
      </p:sp>
      <p:sp>
        <p:nvSpPr>
          <p:cNvPr id="12" name="Text Placeholder 4">
            <a:extLst>
              <a:ext uri="{FF2B5EF4-FFF2-40B4-BE49-F238E27FC236}">
                <a16:creationId xmlns:a16="http://schemas.microsoft.com/office/drawing/2014/main" id="{7F8FEFC5-5B98-4110-A017-739F63CE87B2}"/>
              </a:ext>
            </a:extLst>
          </p:cNvPr>
          <p:cNvSpPr>
            <a:spLocks noGrp="1"/>
          </p:cNvSpPr>
          <p:nvPr>
            <p:ph type="body" sz="quarter" idx="25" hasCustomPrompt="1"/>
          </p:nvPr>
        </p:nvSpPr>
        <p:spPr>
          <a:xfrm>
            <a:off x="7313612" y="5389082"/>
            <a:ext cx="1628775"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p>
        </p:txBody>
      </p:sp>
      <p:sp>
        <p:nvSpPr>
          <p:cNvPr id="13" name="Text Placeholder 5">
            <a:extLst>
              <a:ext uri="{FF2B5EF4-FFF2-40B4-BE49-F238E27FC236}">
                <a16:creationId xmlns:a16="http://schemas.microsoft.com/office/drawing/2014/main" id="{EED6E484-ADE4-491D-A306-116A904F4278}"/>
              </a:ext>
            </a:extLst>
          </p:cNvPr>
          <p:cNvSpPr>
            <a:spLocks noGrp="1"/>
          </p:cNvSpPr>
          <p:nvPr>
            <p:ph type="body" sz="quarter" idx="26" hasCustomPrompt="1"/>
          </p:nvPr>
        </p:nvSpPr>
        <p:spPr>
          <a:xfrm>
            <a:off x="9756775" y="3145100"/>
            <a:ext cx="1630363" cy="318240"/>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p>
        </p:txBody>
      </p:sp>
      <p:sp>
        <p:nvSpPr>
          <p:cNvPr id="5" name="Text Placeholder 6">
            <a:extLst>
              <a:ext uri="{FF2B5EF4-FFF2-40B4-BE49-F238E27FC236}">
                <a16:creationId xmlns:a16="http://schemas.microsoft.com/office/drawing/2014/main" id="{1D494126-0696-4DB9-B563-2B5C9722422F}"/>
              </a:ext>
            </a:extLst>
          </p:cNvPr>
          <p:cNvSpPr>
            <a:spLocks noGrp="1"/>
          </p:cNvSpPr>
          <p:nvPr>
            <p:ph type="body" sz="quarter" idx="27" hasCustomPrompt="1"/>
          </p:nvPr>
        </p:nvSpPr>
        <p:spPr>
          <a:xfrm>
            <a:off x="9756775" y="5389082"/>
            <a:ext cx="1630363"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indent="0">
              <a:lnSpc>
                <a:spcPct val="80000"/>
              </a:lnSpc>
              <a:spcAft>
                <a:spcPts val="0"/>
              </a:spcAft>
              <a:buNone/>
              <a:defRPr sz="1100" b="1" cap="all" baseline="0"/>
            </a:lvl4pPr>
            <a:lvl5pPr indent="0">
              <a:lnSpc>
                <a:spcPct val="80000"/>
              </a:lnSpc>
              <a:spcAft>
                <a:spcPts val="0"/>
              </a:spcAft>
              <a:buNone/>
              <a:defRPr sz="1100"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3" y="1645033"/>
            <a:ext cx="5700711" cy="3745114"/>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3613" y="1645031"/>
            <a:ext cx="1628775" cy="3745116"/>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6775" y="1645032"/>
            <a:ext cx="1630363" cy="1483869"/>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6775" y="3906279"/>
            <a:ext cx="1630363" cy="1483869"/>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5" name="Footer Placeholder 4">
            <a:extLst>
              <a:ext uri="{FF2B5EF4-FFF2-40B4-BE49-F238E27FC236}">
                <a16:creationId xmlns:a16="http://schemas.microsoft.com/office/drawing/2014/main" id="{4567020D-E32F-49AD-ADAE-9E64ADBB8FDF}"/>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8" name="Date_DateCustomA">
            <a:extLst>
              <a:ext uri="{FF2B5EF4-FFF2-40B4-BE49-F238E27FC236}">
                <a16:creationId xmlns:a16="http://schemas.microsoft.com/office/drawing/2014/main" id="{32279A45-1217-4472-8344-3C0A19130A7A}"/>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893200B9-2419-488B-B3B4-69557D1FB50C}" type="datetime1">
              <a:rPr lang="en-GB" smtClean="0"/>
              <a:t>04/03/2024</a:t>
            </a:fld>
            <a:endParaRPr lang="en-GB"/>
          </a:p>
        </p:txBody>
      </p:sp>
    </p:spTree>
    <p:extLst>
      <p:ext uri="{BB962C8B-B14F-4D97-AF65-F5344CB8AC3E}">
        <p14:creationId xmlns:p14="http://schemas.microsoft.com/office/powerpoint/2010/main" val="3338985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images (B)">
    <p:spTree>
      <p:nvGrpSpPr>
        <p:cNvPr id="1" name=""/>
        <p:cNvGrpSpPr/>
        <p:nvPr/>
      </p:nvGrpSpPr>
      <p:grpSpPr>
        <a:xfrm>
          <a:off x="0" y="0"/>
          <a:ext cx="0" cy="0"/>
          <a:chOff x="0" y="0"/>
          <a:chExt cx="0" cy="0"/>
        </a:xfrm>
      </p:grpSpPr>
      <p:sp>
        <p:nvSpPr>
          <p:cNvPr id="17" name="Title 7">
            <a:extLst>
              <a:ext uri="{FF2B5EF4-FFF2-40B4-BE49-F238E27FC236}">
                <a16:creationId xmlns:a16="http://schemas.microsoft.com/office/drawing/2014/main" id="{6DA88F43-D409-4504-A063-DA4B451A4720}"/>
              </a:ext>
            </a:extLst>
          </p:cNvPr>
          <p:cNvSpPr>
            <a:spLocks noGrp="1"/>
          </p:cNvSpPr>
          <p:nvPr>
            <p:ph type="title"/>
          </p:nvPr>
        </p:nvSpPr>
        <p:spPr>
          <a:xfrm>
            <a:off x="798512" y="452543"/>
            <a:ext cx="10588625" cy="748800"/>
          </a:xfrm>
        </p:spPr>
        <p:txBody>
          <a:bodyPr/>
          <a:lstStyle/>
          <a:p>
            <a:r>
              <a:rPr lang="en-GB"/>
              <a:t>Click to edit Master title style</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3" y="1645033"/>
            <a:ext cx="5700711" cy="3745114"/>
          </a:xfrm>
          <a:solidFill>
            <a:srgbClr val="F6F6F4"/>
          </a:solidFill>
        </p:spPr>
        <p:txBody>
          <a:bodyPr tIns="0" anchor="t" anchorCtr="0"/>
          <a:lstStyle>
            <a:lvl1pPr>
              <a:buNone/>
              <a:defRPr/>
            </a:lvl1pPr>
          </a:lstStyle>
          <a:p>
            <a:r>
              <a:rPr lang="en-GB" noProof="0"/>
              <a:t>Mark placeholder to insert image</a:t>
            </a:r>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6926" y="5389082"/>
            <a:ext cx="5702300" cy="317981"/>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p>
        </p:txBody>
      </p:sp>
      <p:sp>
        <p:nvSpPr>
          <p:cNvPr id="12" name="Text Placeholder 4">
            <a:extLst>
              <a:ext uri="{FF2B5EF4-FFF2-40B4-BE49-F238E27FC236}">
                <a16:creationId xmlns:a16="http://schemas.microsoft.com/office/drawing/2014/main" id="{A1F7B2BE-FFF8-4897-A35A-DDFEEB4911B6}"/>
              </a:ext>
            </a:extLst>
          </p:cNvPr>
          <p:cNvSpPr>
            <a:spLocks noGrp="1"/>
          </p:cNvSpPr>
          <p:nvPr>
            <p:ph type="body" sz="quarter" idx="25" hasCustomPrompt="1"/>
          </p:nvPr>
        </p:nvSpPr>
        <p:spPr>
          <a:xfrm>
            <a:off x="7313612" y="3146400"/>
            <a:ext cx="4073526"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3612" y="1645031"/>
            <a:ext cx="4073526" cy="1483869"/>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3" name="Text Placeholder 5">
            <a:extLst>
              <a:ext uri="{FF2B5EF4-FFF2-40B4-BE49-F238E27FC236}">
                <a16:creationId xmlns:a16="http://schemas.microsoft.com/office/drawing/2014/main" id="{735B3C8D-4ACE-428F-8AD3-7A13F1213FD2}"/>
              </a:ext>
            </a:extLst>
          </p:cNvPr>
          <p:cNvSpPr>
            <a:spLocks noGrp="1"/>
          </p:cNvSpPr>
          <p:nvPr>
            <p:ph type="body" sz="quarter" idx="26" hasCustomPrompt="1"/>
          </p:nvPr>
        </p:nvSpPr>
        <p:spPr>
          <a:xfrm>
            <a:off x="7313613" y="5389082"/>
            <a:ext cx="1628775" cy="318240"/>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p>
        </p:txBody>
      </p:sp>
      <p:sp>
        <p:nvSpPr>
          <p:cNvPr id="15" name="Text Placeholder 6">
            <a:extLst>
              <a:ext uri="{FF2B5EF4-FFF2-40B4-BE49-F238E27FC236}">
                <a16:creationId xmlns:a16="http://schemas.microsoft.com/office/drawing/2014/main" id="{C7A95160-7865-47B1-BBD0-32DA9C96FEC4}"/>
              </a:ext>
            </a:extLst>
          </p:cNvPr>
          <p:cNvSpPr>
            <a:spLocks noGrp="1"/>
          </p:cNvSpPr>
          <p:nvPr>
            <p:ph type="body" sz="quarter" idx="27" hasCustomPrompt="1"/>
          </p:nvPr>
        </p:nvSpPr>
        <p:spPr>
          <a:xfrm>
            <a:off x="9756774" y="5389082"/>
            <a:ext cx="1630364"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indent="0">
              <a:lnSpc>
                <a:spcPct val="80000"/>
              </a:lnSpc>
              <a:spcAft>
                <a:spcPts val="0"/>
              </a:spcAft>
              <a:buNone/>
              <a:defRPr sz="1100" b="1" cap="all" baseline="0"/>
            </a:lvl4pPr>
            <a:lvl5pPr indent="0">
              <a:lnSpc>
                <a:spcPct val="80000"/>
              </a:lnSpc>
              <a:spcAft>
                <a:spcPts val="0"/>
              </a:spcAft>
              <a:buNone/>
              <a:defRPr sz="1100" b="1" cap="all" baseline="0"/>
            </a:lvl5pPr>
          </a:lstStyle>
          <a:p>
            <a:pPr lvl="0"/>
            <a:r>
              <a:rPr lang="en-GB"/>
              <a:t>Image text</a:t>
            </a:r>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3613" y="3906278"/>
            <a:ext cx="1628775" cy="1483869"/>
          </a:xfrm>
          <a:solidFill>
            <a:srgbClr val="F6F6F4"/>
          </a:solidFill>
        </p:spPr>
        <p:txBody>
          <a:bodyPr tIns="0" anchor="t" anchorCtr="0"/>
          <a:lstStyle>
            <a:lvl1pPr marL="0" indent="0">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6774" y="3906279"/>
            <a:ext cx="1630364" cy="1483869"/>
          </a:xfrm>
          <a:solidFill>
            <a:srgbClr val="F6F6F4"/>
          </a:solidFill>
        </p:spPr>
        <p:txBody>
          <a:bodyPr tIns="0" anchor="t" anchorCtr="0"/>
          <a:lstStyle>
            <a:lvl1pPr marL="0" indent="0">
              <a:buNone/>
              <a:defRPr/>
            </a:lvl1pPr>
          </a:lstStyle>
          <a:p>
            <a:r>
              <a:rPr lang="en-GB" noProof="0"/>
              <a:t>Mark placeholder to insert image</a:t>
            </a:r>
          </a:p>
        </p:txBody>
      </p:sp>
      <p:sp>
        <p:nvSpPr>
          <p:cNvPr id="19" name="Footer Placeholder 4">
            <a:extLst>
              <a:ext uri="{FF2B5EF4-FFF2-40B4-BE49-F238E27FC236}">
                <a16:creationId xmlns:a16="http://schemas.microsoft.com/office/drawing/2014/main" id="{651A90D8-504E-4DC5-901B-5180BA0DE165}"/>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21" name="Date_DateCustomA">
            <a:extLst>
              <a:ext uri="{FF2B5EF4-FFF2-40B4-BE49-F238E27FC236}">
                <a16:creationId xmlns:a16="http://schemas.microsoft.com/office/drawing/2014/main" id="{C64ACC7F-7EC9-4D88-B2D9-4BD783C75A0C}"/>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F36191CC-81E4-40E2-A3EA-FD9630412644}" type="datetime1">
              <a:rPr lang="en-GB" smtClean="0"/>
              <a:t>04/03/2024</a:t>
            </a:fld>
            <a:endParaRPr lang="en-GB"/>
          </a:p>
        </p:txBody>
      </p:sp>
    </p:spTree>
    <p:extLst>
      <p:ext uri="{BB962C8B-B14F-4D97-AF65-F5344CB8AC3E}">
        <p14:creationId xmlns:p14="http://schemas.microsoft.com/office/powerpoint/2010/main" val="5430060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dark image ">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645FE9CD-1ED4-4BAB-A2E6-81FAE97D5AA5}"/>
              </a:ext>
            </a:extLst>
          </p:cNvPr>
          <p:cNvSpPr>
            <a:spLocks noGrp="1"/>
          </p:cNvSpPr>
          <p:nvPr>
            <p:ph type="pic" sz="quarter" idx="10" hasCustomPrompt="1"/>
          </p:nvPr>
        </p:nvSpPr>
        <p:spPr>
          <a:xfrm>
            <a:off x="0" y="0"/>
            <a:ext cx="12190413" cy="6859588"/>
          </a:xfrm>
          <a:solidFill>
            <a:srgbClr val="F6F6F4"/>
          </a:solidFill>
          <a:ln>
            <a:noFill/>
          </a:ln>
        </p:spPr>
        <p:txBody>
          <a:bodyPr tIns="0" anchor="t" anchorCtr="0"/>
          <a:lstStyle>
            <a:lvl1pPr algn="ctr">
              <a:buNone/>
              <a:defRPr>
                <a:solidFill>
                  <a:schemeClr val="tx1"/>
                </a:solidFill>
              </a:defRPr>
            </a:lvl1pPr>
          </a:lstStyle>
          <a:p>
            <a:r>
              <a:rPr lang="en-GB" noProof="0"/>
              <a:t>Mark placeholder to insert image</a:t>
            </a:r>
          </a:p>
        </p:txBody>
      </p:sp>
      <p:sp>
        <p:nvSpPr>
          <p:cNvPr id="14" name="Logo_ramboll"/>
          <p:cNvSpPr>
            <a:spLocks/>
          </p:cNvSpPr>
          <p:nvPr userDrawn="1"/>
        </p:nvSpPr>
        <p:spPr>
          <a:xfrm>
            <a:off x="817201" y="6159600"/>
            <a:ext cx="896400" cy="255600"/>
          </a:xfrm>
          <a:prstGeom prst="rect">
            <a:avLst/>
          </a:prstGeom>
          <a:noFill/>
          <a:ln>
            <a:noFill/>
          </a:ln>
          <a:effectLst/>
          <a:extLst>
            <a:ext uri="{909E8E84-426E-40DD-AFC4-6F175D3DCCD1}">
              <a14:hiddenFill xmlns:a14="http://schemas.microsoft.com/office/drawing/2010/main">
                <a:solidFill>
                  <a:schemeClr val="accent6"/>
                </a:solidFill>
              </a14:hiddenFill>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 name="Logo_fonden"/>
          <p:cNvSpPr>
            <a:spLocks noChangeAspect="1"/>
          </p:cNvSpPr>
          <p:nvPr userDrawn="1"/>
        </p:nvSpPr>
        <p:spPr>
          <a:xfrm>
            <a:off x="817200" y="6159600"/>
            <a:ext cx="1319093" cy="298800"/>
          </a:xfrm>
          <a:prstGeom prst="rect">
            <a:avLst/>
          </a:prstGeom>
          <a:noFill/>
          <a:ln>
            <a:noFill/>
          </a:ln>
          <a:effectLst/>
          <a:extLst>
            <a:ext uri="{909E8E84-426E-40DD-AFC4-6F175D3DCCD1}">
              <a14:hiddenFill xmlns:a14="http://schemas.microsoft.com/office/drawing/2010/main">
                <a:solidFill>
                  <a:schemeClr val="accent6"/>
                </a:solidFill>
              </a14:hiddenFill>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FLD_PresentationTitle">
            <a:extLst>
              <a:ext uri="{FF2B5EF4-FFF2-40B4-BE49-F238E27FC236}">
                <a16:creationId xmlns:a16="http://schemas.microsoft.com/office/drawing/2014/main" id="{14D760D6-4511-4FB6-834E-914C8197AE93}"/>
              </a:ext>
            </a:extLst>
          </p:cNvPr>
          <p:cNvSpPr>
            <a:spLocks noGrp="1"/>
          </p:cNvSpPr>
          <p:nvPr>
            <p:ph type="ctrTitle" hasCustomPrompt="1"/>
          </p:nvPr>
        </p:nvSpPr>
        <p:spPr>
          <a:xfrm>
            <a:off x="798513" y="409569"/>
            <a:ext cx="9773110" cy="681548"/>
          </a:xfrm>
        </p:spPr>
        <p:txBody>
          <a:bodyPr tIns="0" anchor="t" anchorCtr="0"/>
          <a:lstStyle>
            <a:lvl1pPr>
              <a:defRPr sz="4800" cap="all" spc="-150" baseline="0" smtClean="0">
                <a:solidFill>
                  <a:schemeClr val="tx2"/>
                </a:solidFill>
                <a:latin typeface="Verdana" pitchFamily="34" charset="0"/>
              </a:defRPr>
            </a:lvl1pPr>
          </a:lstStyle>
          <a:p>
            <a:endParaRPr/>
          </a:p>
        </p:txBody>
      </p:sp>
      <p:sp>
        <p:nvSpPr>
          <p:cNvPr id="15" name="FLD_PresentationTitle_2">
            <a:extLst>
              <a:ext uri="{FF2B5EF4-FFF2-40B4-BE49-F238E27FC236}">
                <a16:creationId xmlns:a16="http://schemas.microsoft.com/office/drawing/2014/main" id="{97052B4B-9CE9-499F-8A38-BF912EBD1177}"/>
              </a:ext>
            </a:extLst>
          </p:cNvPr>
          <p:cNvSpPr>
            <a:spLocks noGrp="1" noChangeArrowheads="1"/>
          </p:cNvSpPr>
          <p:nvPr>
            <p:ph type="subTitle" sz="quarter" idx="1" hasCustomPrompt="1"/>
          </p:nvPr>
        </p:nvSpPr>
        <p:spPr>
          <a:xfrm>
            <a:off x="798513" y="1139744"/>
            <a:ext cx="9772650" cy="1254562"/>
          </a:xfrm>
        </p:spPr>
        <p:txBody>
          <a:bodyPr lIns="0"/>
          <a:lstStyle>
            <a:lvl1pPr marL="0" indent="0">
              <a:lnSpc>
                <a:spcPct val="100000"/>
              </a:lnSpc>
              <a:spcAft>
                <a:spcPts val="0"/>
              </a:spcAft>
              <a:buFontTx/>
              <a:buNone/>
              <a:defRPr sz="4800" b="1" cap="all" spc="-150" baseline="0" smtClean="0">
                <a:solidFill>
                  <a:schemeClr val="bg1"/>
                </a:solidFill>
                <a:latin typeface="Verdana" pitchFamily="34" charset="0"/>
              </a:defRPr>
            </a:lvl1pPr>
          </a:lstStyle>
          <a:p>
            <a:endParaRP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513" y="5020098"/>
            <a:ext cx="8136879" cy="1084262"/>
          </a:xfrm>
        </p:spPr>
        <p:txBody>
          <a:bodyPr lIns="0"/>
          <a:lstStyle>
            <a:lvl1pPr marL="0" indent="0">
              <a:buFont typeface="Arial" panose="020B0604020202020204" pitchFamily="34" charset="0"/>
              <a:buChar char="​"/>
              <a:defRPr sz="1600">
                <a:solidFill>
                  <a:schemeClr val="bg1"/>
                </a:solidFill>
              </a:defRPr>
            </a:lvl1pPr>
          </a:lstStyle>
          <a:p>
            <a:pPr lvl="0"/>
            <a:endParaRPr lang="en-GB"/>
          </a:p>
        </p:txBody>
      </p:sp>
      <p:sp>
        <p:nvSpPr>
          <p:cNvPr id="7"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8"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16" name="Text Placeholder 15">
            <a:extLst>
              <a:ext uri="{FF2B5EF4-FFF2-40B4-BE49-F238E27FC236}">
                <a16:creationId xmlns:a16="http://schemas.microsoft.com/office/drawing/2014/main" id="{D3344F44-1D4C-407D-B0CE-FCFEE29BE51A}"/>
              </a:ext>
            </a:extLst>
          </p:cNvPr>
          <p:cNvSpPr>
            <a:spLocks noGrp="1"/>
          </p:cNvSpPr>
          <p:nvPr>
            <p:ph type="body" sz="quarter" idx="12" hasCustomPrompt="1"/>
          </p:nvPr>
        </p:nvSpPr>
        <p:spPr bwMode="auto">
          <a:xfrm>
            <a:off x="798513" y="6159600"/>
            <a:ext cx="1220400" cy="255600"/>
          </a:xfrm>
          <a:custGeom>
            <a:avLst/>
            <a:gdLst>
              <a:gd name="connsiteX0" fmla="*/ 10555461 w 20742935"/>
              <a:gd name="connsiteY0" fmla="*/ 2313797 h 4374000"/>
              <a:gd name="connsiteX1" fmla="*/ 11078393 w 20742935"/>
              <a:gd name="connsiteY1" fmla="*/ 2313797 h 4374000"/>
              <a:gd name="connsiteX2" fmla="*/ 11427013 w 20742935"/>
              <a:gd name="connsiteY2" fmla="*/ 2549249 h 4374000"/>
              <a:gd name="connsiteX3" fmla="*/ 11097761 w 20742935"/>
              <a:gd name="connsiteY3" fmla="*/ 2784701 h 4374000"/>
              <a:gd name="connsiteX4" fmla="*/ 10555461 w 20742935"/>
              <a:gd name="connsiteY4" fmla="*/ 2784701 h 4374000"/>
              <a:gd name="connsiteX5" fmla="*/ 10555461 w 20742935"/>
              <a:gd name="connsiteY5" fmla="*/ 2313797 h 4374000"/>
              <a:gd name="connsiteX6" fmla="*/ 5442357 w 20742935"/>
              <a:gd name="connsiteY6" fmla="*/ 1627063 h 4374000"/>
              <a:gd name="connsiteX7" fmla="*/ 5732875 w 20742935"/>
              <a:gd name="connsiteY7" fmla="*/ 2313797 h 4374000"/>
              <a:gd name="connsiteX8" fmla="*/ 5151840 w 20742935"/>
              <a:gd name="connsiteY8" fmla="*/ 2313797 h 4374000"/>
              <a:gd name="connsiteX9" fmla="*/ 2556552 w 20742935"/>
              <a:gd name="connsiteY9" fmla="*/ 1509337 h 4374000"/>
              <a:gd name="connsiteX10" fmla="*/ 3002012 w 20742935"/>
              <a:gd name="connsiteY10" fmla="*/ 1509337 h 4374000"/>
              <a:gd name="connsiteX11" fmla="*/ 3350633 w 20742935"/>
              <a:gd name="connsiteY11" fmla="*/ 1803652 h 4374000"/>
              <a:gd name="connsiteX12" fmla="*/ 3002012 w 20742935"/>
              <a:gd name="connsiteY12" fmla="*/ 2117588 h 4374000"/>
              <a:gd name="connsiteX13" fmla="*/ 2556552 w 20742935"/>
              <a:gd name="connsiteY13" fmla="*/ 2117588 h 4374000"/>
              <a:gd name="connsiteX14" fmla="*/ 2556552 w 20742935"/>
              <a:gd name="connsiteY14" fmla="*/ 1509337 h 4374000"/>
              <a:gd name="connsiteX15" fmla="*/ 10555461 w 20742935"/>
              <a:gd name="connsiteY15" fmla="*/ 1489716 h 4374000"/>
              <a:gd name="connsiteX16" fmla="*/ 11000921 w 20742935"/>
              <a:gd name="connsiteY16" fmla="*/ 1489716 h 4374000"/>
              <a:gd name="connsiteX17" fmla="*/ 11310807 w 20742935"/>
              <a:gd name="connsiteY17" fmla="*/ 1725168 h 4374000"/>
              <a:gd name="connsiteX18" fmla="*/ 10981553 w 20742935"/>
              <a:gd name="connsiteY18" fmla="*/ 1940999 h 4374000"/>
              <a:gd name="connsiteX19" fmla="*/ 10555461 w 20742935"/>
              <a:gd name="connsiteY19" fmla="*/ 1940999 h 4374000"/>
              <a:gd name="connsiteX20" fmla="*/ 10555461 w 20742935"/>
              <a:gd name="connsiteY20" fmla="*/ 1489716 h 4374000"/>
              <a:gd name="connsiteX21" fmla="*/ 10342417 w 20742935"/>
              <a:gd name="connsiteY21" fmla="*/ 1097297 h 4374000"/>
              <a:gd name="connsiteX22" fmla="*/ 10110001 w 20742935"/>
              <a:gd name="connsiteY22" fmla="*/ 1332749 h 4374000"/>
              <a:gd name="connsiteX23" fmla="*/ 10110001 w 20742935"/>
              <a:gd name="connsiteY23" fmla="*/ 2941669 h 4374000"/>
              <a:gd name="connsiteX24" fmla="*/ 10342417 w 20742935"/>
              <a:gd name="connsiteY24" fmla="*/ 3177120 h 4374000"/>
              <a:gd name="connsiteX25" fmla="*/ 11097761 w 20742935"/>
              <a:gd name="connsiteY25" fmla="*/ 3177120 h 4374000"/>
              <a:gd name="connsiteX26" fmla="*/ 11872473 w 20742935"/>
              <a:gd name="connsiteY26" fmla="*/ 2608112 h 4374000"/>
              <a:gd name="connsiteX27" fmla="*/ 11485117 w 20742935"/>
              <a:gd name="connsiteY27" fmla="*/ 2097967 h 4374000"/>
              <a:gd name="connsiteX28" fmla="*/ 11756267 w 20742935"/>
              <a:gd name="connsiteY28" fmla="*/ 1627063 h 4374000"/>
              <a:gd name="connsiteX29" fmla="*/ 11620693 w 20742935"/>
              <a:gd name="connsiteY29" fmla="*/ 1273886 h 4374000"/>
              <a:gd name="connsiteX30" fmla="*/ 11078393 w 20742935"/>
              <a:gd name="connsiteY30" fmla="*/ 1097297 h 4374000"/>
              <a:gd name="connsiteX31" fmla="*/ 2324139 w 20742935"/>
              <a:gd name="connsiteY31" fmla="*/ 1097297 h 4374000"/>
              <a:gd name="connsiteX32" fmla="*/ 2091725 w 20742935"/>
              <a:gd name="connsiteY32" fmla="*/ 1332749 h 4374000"/>
              <a:gd name="connsiteX33" fmla="*/ 2091725 w 20742935"/>
              <a:gd name="connsiteY33" fmla="*/ 2961290 h 4374000"/>
              <a:gd name="connsiteX34" fmla="*/ 2324139 w 20742935"/>
              <a:gd name="connsiteY34" fmla="*/ 3196741 h 4374000"/>
              <a:gd name="connsiteX35" fmla="*/ 2556552 w 20742935"/>
              <a:gd name="connsiteY35" fmla="*/ 2961290 h 4374000"/>
              <a:gd name="connsiteX36" fmla="*/ 2556552 w 20742935"/>
              <a:gd name="connsiteY36" fmla="*/ 2510007 h 4374000"/>
              <a:gd name="connsiteX37" fmla="*/ 2905173 w 20742935"/>
              <a:gd name="connsiteY37" fmla="*/ 2510007 h 4374000"/>
              <a:gd name="connsiteX38" fmla="*/ 3350633 w 20742935"/>
              <a:gd name="connsiteY38" fmla="*/ 3079016 h 4374000"/>
              <a:gd name="connsiteX39" fmla="*/ 3563679 w 20742935"/>
              <a:gd name="connsiteY39" fmla="*/ 3196741 h 4374000"/>
              <a:gd name="connsiteX40" fmla="*/ 3796093 w 20742935"/>
              <a:gd name="connsiteY40" fmla="*/ 2980911 h 4374000"/>
              <a:gd name="connsiteX41" fmla="*/ 3718621 w 20742935"/>
              <a:gd name="connsiteY41" fmla="*/ 2804322 h 4374000"/>
              <a:gd name="connsiteX42" fmla="*/ 3408736 w 20742935"/>
              <a:gd name="connsiteY42" fmla="*/ 2431523 h 4374000"/>
              <a:gd name="connsiteX43" fmla="*/ 3815461 w 20742935"/>
              <a:gd name="connsiteY43" fmla="*/ 1784031 h 4374000"/>
              <a:gd name="connsiteX44" fmla="*/ 3641150 w 20742935"/>
              <a:gd name="connsiteY44" fmla="*/ 1313128 h 4374000"/>
              <a:gd name="connsiteX45" fmla="*/ 3040748 w 20742935"/>
              <a:gd name="connsiteY45" fmla="*/ 1097297 h 4374000"/>
              <a:gd name="connsiteX46" fmla="*/ 2324139 w 20742935"/>
              <a:gd name="connsiteY46" fmla="*/ 1097297 h 4374000"/>
              <a:gd name="connsiteX47" fmla="*/ 17799025 w 20742935"/>
              <a:gd name="connsiteY47" fmla="*/ 1077676 h 4374000"/>
              <a:gd name="connsiteX48" fmla="*/ 17585981 w 20742935"/>
              <a:gd name="connsiteY48" fmla="*/ 1313128 h 4374000"/>
              <a:gd name="connsiteX49" fmla="*/ 17585981 w 20742935"/>
              <a:gd name="connsiteY49" fmla="*/ 2941669 h 4374000"/>
              <a:gd name="connsiteX50" fmla="*/ 17799025 w 20742935"/>
              <a:gd name="connsiteY50" fmla="*/ 3177120 h 4374000"/>
              <a:gd name="connsiteX51" fmla="*/ 18883625 w 20742935"/>
              <a:gd name="connsiteY51" fmla="*/ 3177120 h 4374000"/>
              <a:gd name="connsiteX52" fmla="*/ 19077301 w 20742935"/>
              <a:gd name="connsiteY52" fmla="*/ 2980911 h 4374000"/>
              <a:gd name="connsiteX53" fmla="*/ 18883625 w 20742935"/>
              <a:gd name="connsiteY53" fmla="*/ 2765080 h 4374000"/>
              <a:gd name="connsiteX54" fmla="*/ 18031441 w 20742935"/>
              <a:gd name="connsiteY54" fmla="*/ 2765080 h 4374000"/>
              <a:gd name="connsiteX55" fmla="*/ 18031441 w 20742935"/>
              <a:gd name="connsiteY55" fmla="*/ 1313128 h 4374000"/>
              <a:gd name="connsiteX56" fmla="*/ 17799025 w 20742935"/>
              <a:gd name="connsiteY56" fmla="*/ 1077676 h 4374000"/>
              <a:gd name="connsiteX57" fmla="*/ 15707301 w 20742935"/>
              <a:gd name="connsiteY57" fmla="*/ 1077676 h 4374000"/>
              <a:gd name="connsiteX58" fmla="*/ 15474889 w 20742935"/>
              <a:gd name="connsiteY58" fmla="*/ 1313128 h 4374000"/>
              <a:gd name="connsiteX59" fmla="*/ 15474889 w 20742935"/>
              <a:gd name="connsiteY59" fmla="*/ 2941669 h 4374000"/>
              <a:gd name="connsiteX60" fmla="*/ 15707301 w 20742935"/>
              <a:gd name="connsiteY60" fmla="*/ 3177120 h 4374000"/>
              <a:gd name="connsiteX61" fmla="*/ 16772533 w 20742935"/>
              <a:gd name="connsiteY61" fmla="*/ 3177120 h 4374000"/>
              <a:gd name="connsiteX62" fmla="*/ 16985577 w 20742935"/>
              <a:gd name="connsiteY62" fmla="*/ 2980911 h 4374000"/>
              <a:gd name="connsiteX63" fmla="*/ 16772533 w 20742935"/>
              <a:gd name="connsiteY63" fmla="*/ 2765080 h 4374000"/>
              <a:gd name="connsiteX64" fmla="*/ 15939717 w 20742935"/>
              <a:gd name="connsiteY64" fmla="*/ 2765080 h 4374000"/>
              <a:gd name="connsiteX65" fmla="*/ 15939717 w 20742935"/>
              <a:gd name="connsiteY65" fmla="*/ 1313128 h 4374000"/>
              <a:gd name="connsiteX66" fmla="*/ 15707301 w 20742935"/>
              <a:gd name="connsiteY66" fmla="*/ 1077676 h 4374000"/>
              <a:gd name="connsiteX67" fmla="*/ 7417875 w 20742935"/>
              <a:gd name="connsiteY67" fmla="*/ 1077676 h 4374000"/>
              <a:gd name="connsiteX68" fmla="*/ 7166093 w 20742935"/>
              <a:gd name="connsiteY68" fmla="*/ 1293507 h 4374000"/>
              <a:gd name="connsiteX69" fmla="*/ 7166093 w 20742935"/>
              <a:gd name="connsiteY69" fmla="*/ 2961290 h 4374000"/>
              <a:gd name="connsiteX70" fmla="*/ 7398507 w 20742935"/>
              <a:gd name="connsiteY70" fmla="*/ 3196741 h 4374000"/>
              <a:gd name="connsiteX71" fmla="*/ 7611553 w 20742935"/>
              <a:gd name="connsiteY71" fmla="*/ 2961290 h 4374000"/>
              <a:gd name="connsiteX72" fmla="*/ 7611553 w 20742935"/>
              <a:gd name="connsiteY72" fmla="*/ 1940999 h 4374000"/>
              <a:gd name="connsiteX73" fmla="*/ 7998909 w 20742935"/>
              <a:gd name="connsiteY73" fmla="*/ 2549249 h 4374000"/>
              <a:gd name="connsiteX74" fmla="*/ 8192589 w 20742935"/>
              <a:gd name="connsiteY74" fmla="*/ 2666975 h 4374000"/>
              <a:gd name="connsiteX75" fmla="*/ 8386265 w 20742935"/>
              <a:gd name="connsiteY75" fmla="*/ 2549249 h 4374000"/>
              <a:gd name="connsiteX76" fmla="*/ 8773621 w 20742935"/>
              <a:gd name="connsiteY76" fmla="*/ 1921378 h 4374000"/>
              <a:gd name="connsiteX77" fmla="*/ 8773621 w 20742935"/>
              <a:gd name="connsiteY77" fmla="*/ 2961290 h 4374000"/>
              <a:gd name="connsiteX78" fmla="*/ 9006037 w 20742935"/>
              <a:gd name="connsiteY78" fmla="*/ 3196741 h 4374000"/>
              <a:gd name="connsiteX79" fmla="*/ 9238449 w 20742935"/>
              <a:gd name="connsiteY79" fmla="*/ 2961290 h 4374000"/>
              <a:gd name="connsiteX80" fmla="*/ 9238449 w 20742935"/>
              <a:gd name="connsiteY80" fmla="*/ 1293507 h 4374000"/>
              <a:gd name="connsiteX81" fmla="*/ 8986669 w 20742935"/>
              <a:gd name="connsiteY81" fmla="*/ 1077676 h 4374000"/>
              <a:gd name="connsiteX82" fmla="*/ 8734887 w 20742935"/>
              <a:gd name="connsiteY82" fmla="*/ 1215023 h 4374000"/>
              <a:gd name="connsiteX83" fmla="*/ 8211955 w 20742935"/>
              <a:gd name="connsiteY83" fmla="*/ 2097967 h 4374000"/>
              <a:gd name="connsiteX84" fmla="*/ 7669657 w 20742935"/>
              <a:gd name="connsiteY84" fmla="*/ 1215023 h 4374000"/>
              <a:gd name="connsiteX85" fmla="*/ 7417875 w 20742935"/>
              <a:gd name="connsiteY85" fmla="*/ 1077676 h 4374000"/>
              <a:gd name="connsiteX86" fmla="*/ 5461725 w 20742935"/>
              <a:gd name="connsiteY86" fmla="*/ 1058055 h 4374000"/>
              <a:gd name="connsiteX87" fmla="*/ 5171208 w 20742935"/>
              <a:gd name="connsiteY87" fmla="*/ 1234644 h 4374000"/>
              <a:gd name="connsiteX88" fmla="*/ 4454599 w 20742935"/>
              <a:gd name="connsiteY88" fmla="*/ 2882806 h 4374000"/>
              <a:gd name="connsiteX89" fmla="*/ 4435231 w 20742935"/>
              <a:gd name="connsiteY89" fmla="*/ 3000532 h 4374000"/>
              <a:gd name="connsiteX90" fmla="*/ 4648277 w 20742935"/>
              <a:gd name="connsiteY90" fmla="*/ 3196741 h 4374000"/>
              <a:gd name="connsiteX91" fmla="*/ 4841955 w 20742935"/>
              <a:gd name="connsiteY91" fmla="*/ 3059395 h 4374000"/>
              <a:gd name="connsiteX92" fmla="*/ 4996897 w 20742935"/>
              <a:gd name="connsiteY92" fmla="*/ 2706217 h 4374000"/>
              <a:gd name="connsiteX93" fmla="*/ 5907185 w 20742935"/>
              <a:gd name="connsiteY93" fmla="*/ 2706217 h 4374000"/>
              <a:gd name="connsiteX94" fmla="*/ 6042760 w 20742935"/>
              <a:gd name="connsiteY94" fmla="*/ 3059395 h 4374000"/>
              <a:gd name="connsiteX95" fmla="*/ 6255805 w 20742935"/>
              <a:gd name="connsiteY95" fmla="*/ 3196741 h 4374000"/>
              <a:gd name="connsiteX96" fmla="*/ 6468853 w 20742935"/>
              <a:gd name="connsiteY96" fmla="*/ 3000532 h 4374000"/>
              <a:gd name="connsiteX97" fmla="*/ 6449485 w 20742935"/>
              <a:gd name="connsiteY97" fmla="*/ 2882806 h 4374000"/>
              <a:gd name="connsiteX98" fmla="*/ 5732875 w 20742935"/>
              <a:gd name="connsiteY98" fmla="*/ 1234644 h 4374000"/>
              <a:gd name="connsiteX99" fmla="*/ 5461725 w 20742935"/>
              <a:gd name="connsiteY99" fmla="*/ 1058055 h 4374000"/>
              <a:gd name="connsiteX100" fmla="*/ 847119 w 20742935"/>
              <a:gd name="connsiteY100" fmla="*/ 0 h 4374000"/>
              <a:gd name="connsiteX101" fmla="*/ 14021983 w 20742935"/>
              <a:gd name="connsiteY101" fmla="*/ 0 h 4374000"/>
              <a:gd name="connsiteX102" fmla="*/ 14021847 w 20742935"/>
              <a:gd name="connsiteY102" fmla="*/ 630 h 4374000"/>
              <a:gd name="connsiteX103" fmla="*/ 13789889 w 20742935"/>
              <a:gd name="connsiteY103" fmla="*/ 1077676 h 4374000"/>
              <a:gd name="connsiteX104" fmla="*/ 13615577 w 20742935"/>
              <a:gd name="connsiteY104" fmla="*/ 1058055 h 4374000"/>
              <a:gd name="connsiteX105" fmla="*/ 12511613 w 20742935"/>
              <a:gd name="connsiteY105" fmla="*/ 2137209 h 4374000"/>
              <a:gd name="connsiteX106" fmla="*/ 13596209 w 20742935"/>
              <a:gd name="connsiteY106" fmla="*/ 3216362 h 4374000"/>
              <a:gd name="connsiteX107" fmla="*/ 14700175 w 20742935"/>
              <a:gd name="connsiteY107" fmla="*/ 2137209 h 4374000"/>
              <a:gd name="connsiteX108" fmla="*/ 14583969 w 20742935"/>
              <a:gd name="connsiteY108" fmla="*/ 1646684 h 4374000"/>
              <a:gd name="connsiteX109" fmla="*/ 14196613 w 20742935"/>
              <a:gd name="connsiteY109" fmla="*/ 1940999 h 4374000"/>
              <a:gd name="connsiteX110" fmla="*/ 14235349 w 20742935"/>
              <a:gd name="connsiteY110" fmla="*/ 2137209 h 4374000"/>
              <a:gd name="connsiteX111" fmla="*/ 13615577 w 20742935"/>
              <a:gd name="connsiteY111" fmla="*/ 2784701 h 4374000"/>
              <a:gd name="connsiteX112" fmla="*/ 12976439 w 20742935"/>
              <a:gd name="connsiteY112" fmla="*/ 2137209 h 4374000"/>
              <a:gd name="connsiteX113" fmla="*/ 13596209 w 20742935"/>
              <a:gd name="connsiteY113" fmla="*/ 1489716 h 4374000"/>
              <a:gd name="connsiteX114" fmla="*/ 13693049 w 20742935"/>
              <a:gd name="connsiteY114" fmla="*/ 1489716 h 4374000"/>
              <a:gd name="connsiteX115" fmla="*/ 13518737 w 20742935"/>
              <a:gd name="connsiteY115" fmla="*/ 2274556 h 4374000"/>
              <a:gd name="connsiteX116" fmla="*/ 13576841 w 20742935"/>
              <a:gd name="connsiteY116" fmla="*/ 2313797 h 4374000"/>
              <a:gd name="connsiteX117" fmla="*/ 15302449 w 20742935"/>
              <a:gd name="connsiteY117" fmla="*/ 208867 h 4374000"/>
              <a:gd name="connsiteX118" fmla="*/ 15473677 w 20742935"/>
              <a:gd name="connsiteY118" fmla="*/ 0 h 4374000"/>
              <a:gd name="connsiteX119" fmla="*/ 19895817 w 20742935"/>
              <a:gd name="connsiteY119" fmla="*/ 0 h 4374000"/>
              <a:gd name="connsiteX120" fmla="*/ 20086775 w 20742935"/>
              <a:gd name="connsiteY120" fmla="*/ 11552 h 4374000"/>
              <a:gd name="connsiteX121" fmla="*/ 20739957 w 20742935"/>
              <a:gd name="connsiteY121" fmla="*/ 787481 h 4374000"/>
              <a:gd name="connsiteX122" fmla="*/ 20742935 w 20742935"/>
              <a:gd name="connsiteY122" fmla="*/ 901016 h 4374000"/>
              <a:gd name="connsiteX123" fmla="*/ 20742935 w 20742935"/>
              <a:gd name="connsiteY123" fmla="*/ 3471506 h 4374000"/>
              <a:gd name="connsiteX124" fmla="*/ 20739957 w 20742935"/>
              <a:gd name="connsiteY124" fmla="*/ 3585041 h 4374000"/>
              <a:gd name="connsiteX125" fmla="*/ 19871385 w 20742935"/>
              <a:gd name="connsiteY125" fmla="*/ 4374000 h 4374000"/>
              <a:gd name="connsiteX126" fmla="*/ 871552 w 20742935"/>
              <a:gd name="connsiteY126" fmla="*/ 4374000 h 4374000"/>
              <a:gd name="connsiteX127" fmla="*/ 0 w 20742935"/>
              <a:gd name="connsiteY127" fmla="*/ 3471435 h 4374000"/>
              <a:gd name="connsiteX128" fmla="*/ 0 w 20742935"/>
              <a:gd name="connsiteY128" fmla="*/ 901087 h 4374000"/>
              <a:gd name="connsiteX129" fmla="*/ 656161 w 20742935"/>
              <a:gd name="connsiteY129" fmla="*/ 11552 h 43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0742935" h="4374000">
                <a:moveTo>
                  <a:pt x="10555461" y="2313797"/>
                </a:moveTo>
                <a:cubicBezTo>
                  <a:pt x="10555461" y="2313797"/>
                  <a:pt x="10555461" y="2313797"/>
                  <a:pt x="11078393" y="2313797"/>
                </a:cubicBezTo>
                <a:cubicBezTo>
                  <a:pt x="11310807" y="2313797"/>
                  <a:pt x="11427013" y="2411902"/>
                  <a:pt x="11427013" y="2549249"/>
                </a:cubicBezTo>
                <a:cubicBezTo>
                  <a:pt x="11427013" y="2706217"/>
                  <a:pt x="11291439" y="2784701"/>
                  <a:pt x="11097761" y="2784701"/>
                </a:cubicBezTo>
                <a:cubicBezTo>
                  <a:pt x="11097761" y="2784701"/>
                  <a:pt x="11097761" y="2784701"/>
                  <a:pt x="10555461" y="2784701"/>
                </a:cubicBezTo>
                <a:cubicBezTo>
                  <a:pt x="10555461" y="2784701"/>
                  <a:pt x="10555461" y="2784701"/>
                  <a:pt x="10555461" y="2313797"/>
                </a:cubicBezTo>
                <a:close/>
                <a:moveTo>
                  <a:pt x="5442357" y="1627063"/>
                </a:moveTo>
                <a:cubicBezTo>
                  <a:pt x="5442357" y="1627063"/>
                  <a:pt x="5442357" y="1627063"/>
                  <a:pt x="5732875" y="2313797"/>
                </a:cubicBezTo>
                <a:cubicBezTo>
                  <a:pt x="5732875" y="2313797"/>
                  <a:pt x="5732875" y="2313797"/>
                  <a:pt x="5151840" y="2313797"/>
                </a:cubicBezTo>
                <a:close/>
                <a:moveTo>
                  <a:pt x="2556552" y="1509337"/>
                </a:moveTo>
                <a:cubicBezTo>
                  <a:pt x="2556552" y="1509337"/>
                  <a:pt x="2556552" y="1509337"/>
                  <a:pt x="3002012" y="1509337"/>
                </a:cubicBezTo>
                <a:cubicBezTo>
                  <a:pt x="3215058" y="1509337"/>
                  <a:pt x="3350633" y="1607442"/>
                  <a:pt x="3350633" y="1803652"/>
                </a:cubicBezTo>
                <a:cubicBezTo>
                  <a:pt x="3350633" y="1980241"/>
                  <a:pt x="3234426" y="2117588"/>
                  <a:pt x="3002012" y="2117588"/>
                </a:cubicBezTo>
                <a:cubicBezTo>
                  <a:pt x="3002012" y="2117588"/>
                  <a:pt x="3002012" y="2117588"/>
                  <a:pt x="2556552" y="2117588"/>
                </a:cubicBezTo>
                <a:cubicBezTo>
                  <a:pt x="2556552" y="2117588"/>
                  <a:pt x="2556552" y="2117588"/>
                  <a:pt x="2556552" y="1509337"/>
                </a:cubicBezTo>
                <a:close/>
                <a:moveTo>
                  <a:pt x="10555461" y="1489716"/>
                </a:moveTo>
                <a:cubicBezTo>
                  <a:pt x="10555461" y="1489716"/>
                  <a:pt x="10555461" y="1489716"/>
                  <a:pt x="11000921" y="1489716"/>
                </a:cubicBezTo>
                <a:cubicBezTo>
                  <a:pt x="11194601" y="1489716"/>
                  <a:pt x="11310807" y="1568200"/>
                  <a:pt x="11310807" y="1725168"/>
                </a:cubicBezTo>
                <a:cubicBezTo>
                  <a:pt x="11310807" y="1882136"/>
                  <a:pt x="11175233" y="1940999"/>
                  <a:pt x="10981553" y="1940999"/>
                </a:cubicBezTo>
                <a:cubicBezTo>
                  <a:pt x="10981553" y="1940999"/>
                  <a:pt x="10981553" y="1940999"/>
                  <a:pt x="10555461" y="1940999"/>
                </a:cubicBezTo>
                <a:cubicBezTo>
                  <a:pt x="10555461" y="1940999"/>
                  <a:pt x="10555461" y="1940999"/>
                  <a:pt x="10555461" y="1489716"/>
                </a:cubicBezTo>
                <a:close/>
                <a:moveTo>
                  <a:pt x="10342417" y="1097297"/>
                </a:moveTo>
                <a:cubicBezTo>
                  <a:pt x="10206841" y="1097297"/>
                  <a:pt x="10110001" y="1175781"/>
                  <a:pt x="10110001" y="1332749"/>
                </a:cubicBezTo>
                <a:cubicBezTo>
                  <a:pt x="10110001" y="1332749"/>
                  <a:pt x="10110001" y="1332749"/>
                  <a:pt x="10110001" y="2941669"/>
                </a:cubicBezTo>
                <a:cubicBezTo>
                  <a:pt x="10110001" y="3098637"/>
                  <a:pt x="10206841" y="3177120"/>
                  <a:pt x="10342417" y="3177120"/>
                </a:cubicBezTo>
                <a:cubicBezTo>
                  <a:pt x="10342417" y="3177120"/>
                  <a:pt x="10342417" y="3177120"/>
                  <a:pt x="11097761" y="3177120"/>
                </a:cubicBezTo>
                <a:cubicBezTo>
                  <a:pt x="11562589" y="3177120"/>
                  <a:pt x="11872473" y="3000532"/>
                  <a:pt x="11872473" y="2608112"/>
                </a:cubicBezTo>
                <a:cubicBezTo>
                  <a:pt x="11872473" y="2313797"/>
                  <a:pt x="11717531" y="2176451"/>
                  <a:pt x="11485117" y="2097967"/>
                </a:cubicBezTo>
                <a:cubicBezTo>
                  <a:pt x="11640061" y="1999862"/>
                  <a:pt x="11756267" y="1882136"/>
                  <a:pt x="11756267" y="1627063"/>
                </a:cubicBezTo>
                <a:cubicBezTo>
                  <a:pt x="11756267" y="1489716"/>
                  <a:pt x="11717531" y="1371991"/>
                  <a:pt x="11620693" y="1273886"/>
                </a:cubicBezTo>
                <a:cubicBezTo>
                  <a:pt x="11504485" y="1156160"/>
                  <a:pt x="11310807" y="1097297"/>
                  <a:pt x="11078393" y="1097297"/>
                </a:cubicBezTo>
                <a:close/>
                <a:moveTo>
                  <a:pt x="2324139" y="1097297"/>
                </a:moveTo>
                <a:cubicBezTo>
                  <a:pt x="2188564" y="1097297"/>
                  <a:pt x="2091725" y="1175781"/>
                  <a:pt x="2091725" y="1332749"/>
                </a:cubicBezTo>
                <a:lnTo>
                  <a:pt x="2091725" y="2961290"/>
                </a:lnTo>
                <a:cubicBezTo>
                  <a:pt x="2091725" y="3118258"/>
                  <a:pt x="2188564" y="3196741"/>
                  <a:pt x="2324139" y="3196741"/>
                </a:cubicBezTo>
                <a:cubicBezTo>
                  <a:pt x="2459713" y="3196741"/>
                  <a:pt x="2556552" y="3118258"/>
                  <a:pt x="2556552" y="2961290"/>
                </a:cubicBezTo>
                <a:cubicBezTo>
                  <a:pt x="2556552" y="2961290"/>
                  <a:pt x="2556552" y="2961290"/>
                  <a:pt x="2556552" y="2510007"/>
                </a:cubicBezTo>
                <a:cubicBezTo>
                  <a:pt x="2556552" y="2510007"/>
                  <a:pt x="2556552" y="2510007"/>
                  <a:pt x="2905173" y="2510007"/>
                </a:cubicBezTo>
                <a:cubicBezTo>
                  <a:pt x="2905173" y="2510007"/>
                  <a:pt x="2905173" y="2510007"/>
                  <a:pt x="3350633" y="3079016"/>
                </a:cubicBezTo>
                <a:cubicBezTo>
                  <a:pt x="3408736" y="3157500"/>
                  <a:pt x="3466840" y="3196741"/>
                  <a:pt x="3563679" y="3196741"/>
                </a:cubicBezTo>
                <a:cubicBezTo>
                  <a:pt x="3679886" y="3196741"/>
                  <a:pt x="3796093" y="3098637"/>
                  <a:pt x="3796093" y="2980911"/>
                </a:cubicBezTo>
                <a:cubicBezTo>
                  <a:pt x="3796093" y="2902427"/>
                  <a:pt x="3757357" y="2863185"/>
                  <a:pt x="3718621" y="2804322"/>
                </a:cubicBezTo>
                <a:cubicBezTo>
                  <a:pt x="3718621" y="2804322"/>
                  <a:pt x="3718621" y="2804322"/>
                  <a:pt x="3408736" y="2431523"/>
                </a:cubicBezTo>
                <a:cubicBezTo>
                  <a:pt x="3660518" y="2313797"/>
                  <a:pt x="3815461" y="2117588"/>
                  <a:pt x="3815461" y="1784031"/>
                </a:cubicBezTo>
                <a:cubicBezTo>
                  <a:pt x="3815461" y="1587821"/>
                  <a:pt x="3757357" y="1430854"/>
                  <a:pt x="3641150" y="1313128"/>
                </a:cubicBezTo>
                <a:cubicBezTo>
                  <a:pt x="3505575" y="1175781"/>
                  <a:pt x="3311897" y="1097297"/>
                  <a:pt x="3040748" y="1097297"/>
                </a:cubicBezTo>
                <a:cubicBezTo>
                  <a:pt x="3040748" y="1097297"/>
                  <a:pt x="3040748" y="1097297"/>
                  <a:pt x="2324139" y="1097297"/>
                </a:cubicBezTo>
                <a:close/>
                <a:moveTo>
                  <a:pt x="17799025" y="1077676"/>
                </a:moveTo>
                <a:cubicBezTo>
                  <a:pt x="17682821" y="1077676"/>
                  <a:pt x="17585981" y="1156160"/>
                  <a:pt x="17585981" y="1313128"/>
                </a:cubicBezTo>
                <a:cubicBezTo>
                  <a:pt x="17585981" y="1313128"/>
                  <a:pt x="17585981" y="1313128"/>
                  <a:pt x="17585981" y="2941669"/>
                </a:cubicBezTo>
                <a:cubicBezTo>
                  <a:pt x="17585981" y="3098637"/>
                  <a:pt x="17682821" y="3177120"/>
                  <a:pt x="17799025" y="3177120"/>
                </a:cubicBezTo>
                <a:lnTo>
                  <a:pt x="18883625" y="3177120"/>
                </a:lnTo>
                <a:cubicBezTo>
                  <a:pt x="18999833" y="3177120"/>
                  <a:pt x="19077301" y="3098637"/>
                  <a:pt x="19077301" y="2980911"/>
                </a:cubicBezTo>
                <a:cubicBezTo>
                  <a:pt x="19077301" y="2843564"/>
                  <a:pt x="18999833" y="2765080"/>
                  <a:pt x="18883625" y="2765080"/>
                </a:cubicBezTo>
                <a:cubicBezTo>
                  <a:pt x="18883625" y="2765080"/>
                  <a:pt x="18883625" y="2765080"/>
                  <a:pt x="18031441" y="2765080"/>
                </a:cubicBezTo>
                <a:cubicBezTo>
                  <a:pt x="18031441" y="2765080"/>
                  <a:pt x="18031441" y="2765080"/>
                  <a:pt x="18031441" y="1313128"/>
                </a:cubicBezTo>
                <a:cubicBezTo>
                  <a:pt x="18031441" y="1156160"/>
                  <a:pt x="17934601" y="1077676"/>
                  <a:pt x="17799025" y="1077676"/>
                </a:cubicBezTo>
                <a:close/>
                <a:moveTo>
                  <a:pt x="15707301" y="1077676"/>
                </a:moveTo>
                <a:cubicBezTo>
                  <a:pt x="15571727" y="1077676"/>
                  <a:pt x="15474889" y="1156160"/>
                  <a:pt x="15474889" y="1313128"/>
                </a:cubicBezTo>
                <a:cubicBezTo>
                  <a:pt x="15474889" y="1313128"/>
                  <a:pt x="15474889" y="1313128"/>
                  <a:pt x="15474889" y="2941669"/>
                </a:cubicBezTo>
                <a:cubicBezTo>
                  <a:pt x="15474889" y="3098637"/>
                  <a:pt x="15571727" y="3177120"/>
                  <a:pt x="15707301" y="3177120"/>
                </a:cubicBezTo>
                <a:lnTo>
                  <a:pt x="16772533" y="3177120"/>
                </a:lnTo>
                <a:cubicBezTo>
                  <a:pt x="16888737" y="3177120"/>
                  <a:pt x="16985577" y="3098637"/>
                  <a:pt x="16985577" y="2980911"/>
                </a:cubicBezTo>
                <a:cubicBezTo>
                  <a:pt x="16985577" y="2843564"/>
                  <a:pt x="16888737" y="2765080"/>
                  <a:pt x="16772533" y="2765080"/>
                </a:cubicBezTo>
                <a:cubicBezTo>
                  <a:pt x="16772533" y="2765080"/>
                  <a:pt x="16772533" y="2765080"/>
                  <a:pt x="15939717" y="2765080"/>
                </a:cubicBezTo>
                <a:cubicBezTo>
                  <a:pt x="15939717" y="2765080"/>
                  <a:pt x="15939717" y="2765080"/>
                  <a:pt x="15939717" y="1313128"/>
                </a:cubicBezTo>
                <a:cubicBezTo>
                  <a:pt x="15939717" y="1156160"/>
                  <a:pt x="15842877" y="1077676"/>
                  <a:pt x="15707301" y="1077676"/>
                </a:cubicBezTo>
                <a:close/>
                <a:moveTo>
                  <a:pt x="7417875" y="1077676"/>
                </a:moveTo>
                <a:cubicBezTo>
                  <a:pt x="7301669" y="1077676"/>
                  <a:pt x="7166093" y="1156160"/>
                  <a:pt x="7166093" y="1293507"/>
                </a:cubicBezTo>
                <a:cubicBezTo>
                  <a:pt x="7166093" y="1293507"/>
                  <a:pt x="7166093" y="1293507"/>
                  <a:pt x="7166093" y="2961290"/>
                </a:cubicBezTo>
                <a:cubicBezTo>
                  <a:pt x="7166093" y="3118258"/>
                  <a:pt x="7262933" y="3196741"/>
                  <a:pt x="7398507" y="3196741"/>
                </a:cubicBezTo>
                <a:cubicBezTo>
                  <a:pt x="7514713" y="3196741"/>
                  <a:pt x="7611553" y="3118258"/>
                  <a:pt x="7611553" y="2961290"/>
                </a:cubicBezTo>
                <a:cubicBezTo>
                  <a:pt x="7611553" y="2961290"/>
                  <a:pt x="7611553" y="2961290"/>
                  <a:pt x="7611553" y="1940999"/>
                </a:cubicBezTo>
                <a:cubicBezTo>
                  <a:pt x="7611553" y="1940999"/>
                  <a:pt x="7611553" y="1940999"/>
                  <a:pt x="7998909" y="2549249"/>
                </a:cubicBezTo>
                <a:cubicBezTo>
                  <a:pt x="8057013" y="2627733"/>
                  <a:pt x="8115117" y="2666975"/>
                  <a:pt x="8192589" y="2666975"/>
                </a:cubicBezTo>
                <a:cubicBezTo>
                  <a:pt x="8289427" y="2666975"/>
                  <a:pt x="8347531" y="2627733"/>
                  <a:pt x="8386265" y="2549249"/>
                </a:cubicBezTo>
                <a:cubicBezTo>
                  <a:pt x="8386265" y="2549249"/>
                  <a:pt x="8386265" y="2549249"/>
                  <a:pt x="8773621" y="1921378"/>
                </a:cubicBezTo>
                <a:cubicBezTo>
                  <a:pt x="8773621" y="1921378"/>
                  <a:pt x="8773621" y="1921378"/>
                  <a:pt x="8773621" y="2961290"/>
                </a:cubicBezTo>
                <a:cubicBezTo>
                  <a:pt x="8773621" y="3118258"/>
                  <a:pt x="8870461" y="3196741"/>
                  <a:pt x="9006037" y="3196741"/>
                </a:cubicBezTo>
                <a:cubicBezTo>
                  <a:pt x="9141611" y="3196741"/>
                  <a:pt x="9238449" y="3118258"/>
                  <a:pt x="9238449" y="2961290"/>
                </a:cubicBezTo>
                <a:lnTo>
                  <a:pt x="9238449" y="1293507"/>
                </a:lnTo>
                <a:cubicBezTo>
                  <a:pt x="9238449" y="1156160"/>
                  <a:pt x="9102875" y="1077676"/>
                  <a:pt x="8986669" y="1077676"/>
                </a:cubicBezTo>
                <a:cubicBezTo>
                  <a:pt x="8870461" y="1077676"/>
                  <a:pt x="8792989" y="1116918"/>
                  <a:pt x="8734887" y="1215023"/>
                </a:cubicBezTo>
                <a:cubicBezTo>
                  <a:pt x="8734887" y="1215023"/>
                  <a:pt x="8734887" y="1215023"/>
                  <a:pt x="8211955" y="2097967"/>
                </a:cubicBezTo>
                <a:cubicBezTo>
                  <a:pt x="8211955" y="2097967"/>
                  <a:pt x="8211955" y="2097967"/>
                  <a:pt x="7669657" y="1215023"/>
                </a:cubicBezTo>
                <a:cubicBezTo>
                  <a:pt x="7611553" y="1116918"/>
                  <a:pt x="7534081" y="1077676"/>
                  <a:pt x="7417875" y="1077676"/>
                </a:cubicBezTo>
                <a:close/>
                <a:moveTo>
                  <a:pt x="5461725" y="1058055"/>
                </a:moveTo>
                <a:cubicBezTo>
                  <a:pt x="5306783" y="1058055"/>
                  <a:pt x="5229311" y="1136539"/>
                  <a:pt x="5171208" y="1234644"/>
                </a:cubicBezTo>
                <a:cubicBezTo>
                  <a:pt x="5171208" y="1234644"/>
                  <a:pt x="5171208" y="1234644"/>
                  <a:pt x="4454599" y="2882806"/>
                </a:cubicBezTo>
                <a:cubicBezTo>
                  <a:pt x="4435231" y="2922048"/>
                  <a:pt x="4435231" y="2961290"/>
                  <a:pt x="4435231" y="3000532"/>
                </a:cubicBezTo>
                <a:cubicBezTo>
                  <a:pt x="4435231" y="3118258"/>
                  <a:pt x="4532070" y="3196741"/>
                  <a:pt x="4648277" y="3196741"/>
                </a:cubicBezTo>
                <a:cubicBezTo>
                  <a:pt x="4745116" y="3196741"/>
                  <a:pt x="4803219" y="3157500"/>
                  <a:pt x="4841955" y="3059395"/>
                </a:cubicBezTo>
                <a:cubicBezTo>
                  <a:pt x="4841955" y="3059395"/>
                  <a:pt x="4841955" y="3059395"/>
                  <a:pt x="4996897" y="2706217"/>
                </a:cubicBezTo>
                <a:cubicBezTo>
                  <a:pt x="4996897" y="2706217"/>
                  <a:pt x="4996897" y="2706217"/>
                  <a:pt x="5907185" y="2706217"/>
                </a:cubicBezTo>
                <a:lnTo>
                  <a:pt x="6042760" y="3059395"/>
                </a:lnTo>
                <a:cubicBezTo>
                  <a:pt x="6081495" y="3157500"/>
                  <a:pt x="6158967" y="3196741"/>
                  <a:pt x="6255805" y="3196741"/>
                </a:cubicBezTo>
                <a:cubicBezTo>
                  <a:pt x="6372013" y="3196741"/>
                  <a:pt x="6468853" y="3118258"/>
                  <a:pt x="6468853" y="3000532"/>
                </a:cubicBezTo>
                <a:cubicBezTo>
                  <a:pt x="6468853" y="2961290"/>
                  <a:pt x="6468853" y="2922048"/>
                  <a:pt x="6449485" y="2882806"/>
                </a:cubicBezTo>
                <a:cubicBezTo>
                  <a:pt x="6449485" y="2882806"/>
                  <a:pt x="6449485" y="2882806"/>
                  <a:pt x="5732875" y="1234644"/>
                </a:cubicBezTo>
                <a:cubicBezTo>
                  <a:pt x="5674771" y="1136539"/>
                  <a:pt x="5597300" y="1058055"/>
                  <a:pt x="5461725" y="1058055"/>
                </a:cubicBezTo>
                <a:close/>
                <a:moveTo>
                  <a:pt x="847119" y="0"/>
                </a:moveTo>
                <a:lnTo>
                  <a:pt x="14021983" y="0"/>
                </a:lnTo>
                <a:lnTo>
                  <a:pt x="14021847" y="630"/>
                </a:lnTo>
                <a:cubicBezTo>
                  <a:pt x="14018669" y="15384"/>
                  <a:pt x="13993249" y="133416"/>
                  <a:pt x="13789889" y="1077676"/>
                </a:cubicBezTo>
                <a:cubicBezTo>
                  <a:pt x="13731785" y="1058055"/>
                  <a:pt x="13673681" y="1058055"/>
                  <a:pt x="13615577" y="1058055"/>
                </a:cubicBezTo>
                <a:cubicBezTo>
                  <a:pt x="12976439" y="1058055"/>
                  <a:pt x="12511613" y="1548579"/>
                  <a:pt x="12511613" y="2137209"/>
                </a:cubicBezTo>
                <a:cubicBezTo>
                  <a:pt x="12511613" y="2745459"/>
                  <a:pt x="12957071" y="3216362"/>
                  <a:pt x="13596209" y="3216362"/>
                </a:cubicBezTo>
                <a:cubicBezTo>
                  <a:pt x="14235349" y="3216362"/>
                  <a:pt x="14700175" y="2725838"/>
                  <a:pt x="14700175" y="2137209"/>
                </a:cubicBezTo>
                <a:cubicBezTo>
                  <a:pt x="14700175" y="1960620"/>
                  <a:pt x="14661441" y="1784031"/>
                  <a:pt x="14583969" y="1646684"/>
                </a:cubicBezTo>
                <a:cubicBezTo>
                  <a:pt x="14583969" y="1646684"/>
                  <a:pt x="14583969" y="1646684"/>
                  <a:pt x="14196613" y="1940999"/>
                </a:cubicBezTo>
                <a:cubicBezTo>
                  <a:pt x="14215981" y="1999862"/>
                  <a:pt x="14235349" y="2078346"/>
                  <a:pt x="14235349" y="2137209"/>
                </a:cubicBezTo>
                <a:cubicBezTo>
                  <a:pt x="14235349" y="2510007"/>
                  <a:pt x="13983565" y="2784701"/>
                  <a:pt x="13615577" y="2784701"/>
                </a:cubicBezTo>
                <a:cubicBezTo>
                  <a:pt x="13247589" y="2784701"/>
                  <a:pt x="12976439" y="2490386"/>
                  <a:pt x="12976439" y="2137209"/>
                </a:cubicBezTo>
                <a:cubicBezTo>
                  <a:pt x="12976439" y="1784031"/>
                  <a:pt x="13228221" y="1489716"/>
                  <a:pt x="13596209" y="1489716"/>
                </a:cubicBezTo>
                <a:cubicBezTo>
                  <a:pt x="13634945" y="1489716"/>
                  <a:pt x="13654313" y="1489716"/>
                  <a:pt x="13693049" y="1489716"/>
                </a:cubicBezTo>
                <a:cubicBezTo>
                  <a:pt x="13693049" y="1489716"/>
                  <a:pt x="13693049" y="1489716"/>
                  <a:pt x="13518737" y="2274556"/>
                </a:cubicBezTo>
                <a:cubicBezTo>
                  <a:pt x="13518737" y="2274556"/>
                  <a:pt x="13518737" y="2274556"/>
                  <a:pt x="13576841" y="2313797"/>
                </a:cubicBezTo>
                <a:cubicBezTo>
                  <a:pt x="13576841" y="2313797"/>
                  <a:pt x="13576841" y="2313797"/>
                  <a:pt x="15302449" y="208867"/>
                </a:cubicBezTo>
                <a:lnTo>
                  <a:pt x="15473677" y="0"/>
                </a:lnTo>
                <a:lnTo>
                  <a:pt x="19895817" y="0"/>
                </a:lnTo>
                <a:lnTo>
                  <a:pt x="20086775" y="11552"/>
                </a:lnTo>
                <a:cubicBezTo>
                  <a:pt x="20517065" y="68345"/>
                  <a:pt x="20714017" y="312956"/>
                  <a:pt x="20739957" y="787481"/>
                </a:cubicBezTo>
                <a:lnTo>
                  <a:pt x="20742935" y="901016"/>
                </a:lnTo>
                <a:lnTo>
                  <a:pt x="20742935" y="3471506"/>
                </a:lnTo>
                <a:lnTo>
                  <a:pt x="20739957" y="3585041"/>
                </a:lnTo>
                <a:cubicBezTo>
                  <a:pt x="20710027" y="4132570"/>
                  <a:pt x="20452417" y="4374000"/>
                  <a:pt x="19871385" y="4374000"/>
                </a:cubicBezTo>
                <a:lnTo>
                  <a:pt x="871552" y="4374000"/>
                </a:lnTo>
                <a:cubicBezTo>
                  <a:pt x="251782" y="4374000"/>
                  <a:pt x="0" y="4099306"/>
                  <a:pt x="0" y="3471435"/>
                </a:cubicBezTo>
                <a:cubicBezTo>
                  <a:pt x="0" y="3471435"/>
                  <a:pt x="0" y="3471435"/>
                  <a:pt x="0" y="901087"/>
                </a:cubicBezTo>
                <a:cubicBezTo>
                  <a:pt x="0" y="351700"/>
                  <a:pt x="192771" y="72714"/>
                  <a:pt x="656161" y="11552"/>
                </a:cubicBezTo>
                <a:close/>
              </a:path>
            </a:pathLst>
          </a:custGeom>
          <a:solidFill>
            <a:schemeClr val="bg1"/>
          </a:solidFill>
          <a:ln w="9525">
            <a:noFill/>
            <a:miter lim="800000"/>
            <a:headEnd/>
            <a:tailEnd/>
          </a:ln>
          <a:effectLst/>
        </p:spPr>
        <p:txBody>
          <a:bodyPr wrap="square">
            <a:noAutofit/>
          </a:bodyPr>
          <a:lstStyle>
            <a:lvl1pPr marL="0" indent="0">
              <a:buNone/>
              <a:defRPr sz="100">
                <a:noFill/>
              </a:defRPr>
            </a:lvl1pPr>
            <a:lvl2pPr>
              <a:defRPr>
                <a:noFill/>
              </a:defRPr>
            </a:lvl2pPr>
            <a:lvl3pPr>
              <a:defRPr>
                <a:noFill/>
              </a:defRPr>
            </a:lvl3pPr>
            <a:lvl4pPr>
              <a:defRPr>
                <a:noFill/>
              </a:defRPr>
            </a:lvl4pPr>
            <a:lvl5pPr>
              <a:defRPr>
                <a:noFill/>
              </a:defRPr>
            </a:lvl5pPr>
          </a:lstStyle>
          <a:p>
            <a:pPr lvl="0"/>
            <a:r>
              <a:rPr lang="en-GB"/>
              <a:t>.</a:t>
            </a:r>
          </a:p>
        </p:txBody>
      </p:sp>
      <p:sp>
        <p:nvSpPr>
          <p:cNvPr id="19" name="Slide Number Placeholder 5" hidden="1">
            <a:extLst>
              <a:ext uri="{FF2B5EF4-FFF2-40B4-BE49-F238E27FC236}">
                <a16:creationId xmlns:a16="http://schemas.microsoft.com/office/drawing/2014/main" id="{F31626DF-C504-456C-BABA-F9E112AEAE62}"/>
              </a:ext>
            </a:extLst>
          </p:cNvPr>
          <p:cNvSpPr>
            <a:spLocks noGrp="1"/>
          </p:cNvSpPr>
          <p:nvPr>
            <p:ph type="sldNum" sz="quarter" idx="4"/>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22" name="Footer Placeholder 4" hidden="1">
            <a:extLst>
              <a:ext uri="{FF2B5EF4-FFF2-40B4-BE49-F238E27FC236}">
                <a16:creationId xmlns:a16="http://schemas.microsoft.com/office/drawing/2014/main" id="{148EA343-9CD9-4A35-8E70-A9FAF3855BD9}"/>
              </a:ext>
            </a:extLst>
          </p:cNvPr>
          <p:cNvSpPr>
            <a:spLocks noGrp="1"/>
          </p:cNvSpPr>
          <p:nvPr>
            <p:ph type="ftr" sz="quarter" idx="3"/>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23" name="Date_DateCustomA" hidden="1">
            <a:extLst>
              <a:ext uri="{FF2B5EF4-FFF2-40B4-BE49-F238E27FC236}">
                <a16:creationId xmlns:a16="http://schemas.microsoft.com/office/drawing/2014/main" id="{D46E539C-AF02-4268-B134-91B646ABB7B9}"/>
              </a:ext>
            </a:extLst>
          </p:cNvPr>
          <p:cNvSpPr>
            <a:spLocks noGrp="1"/>
          </p:cNvSpPr>
          <p:nvPr>
            <p:ph type="dt" sz="half" idx="2"/>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a:p>
        </p:txBody>
      </p:sp>
    </p:spTree>
    <p:extLst>
      <p:ext uri="{BB962C8B-B14F-4D97-AF65-F5344CB8AC3E}">
        <p14:creationId xmlns:p14="http://schemas.microsoft.com/office/powerpoint/2010/main" val="25986852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ive images (A)">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6926" y="5390147"/>
            <a:ext cx="5702300" cy="316916"/>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p>
        </p:txBody>
      </p:sp>
      <p:sp>
        <p:nvSpPr>
          <p:cNvPr id="20" name="Text Placeholder 4">
            <a:extLst>
              <a:ext uri="{FF2B5EF4-FFF2-40B4-BE49-F238E27FC236}">
                <a16:creationId xmlns:a16="http://schemas.microsoft.com/office/drawing/2014/main" id="{42DF0A72-5AF0-4ACE-B2DB-4155F465E0B5}"/>
              </a:ext>
            </a:extLst>
          </p:cNvPr>
          <p:cNvSpPr>
            <a:spLocks noGrp="1"/>
          </p:cNvSpPr>
          <p:nvPr>
            <p:ph type="body" sz="quarter" idx="25" hasCustomPrompt="1"/>
          </p:nvPr>
        </p:nvSpPr>
        <p:spPr>
          <a:xfrm>
            <a:off x="7313612" y="3144921"/>
            <a:ext cx="1628776"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p>
        </p:txBody>
      </p:sp>
      <p:sp>
        <p:nvSpPr>
          <p:cNvPr id="21" name="Text Placeholder 5">
            <a:extLst>
              <a:ext uri="{FF2B5EF4-FFF2-40B4-BE49-F238E27FC236}">
                <a16:creationId xmlns:a16="http://schemas.microsoft.com/office/drawing/2014/main" id="{0F958486-0A01-4664-898B-849018028B9C}"/>
              </a:ext>
            </a:extLst>
          </p:cNvPr>
          <p:cNvSpPr>
            <a:spLocks noGrp="1"/>
          </p:cNvSpPr>
          <p:nvPr>
            <p:ph type="body" sz="quarter" idx="26" hasCustomPrompt="1"/>
          </p:nvPr>
        </p:nvSpPr>
        <p:spPr>
          <a:xfrm>
            <a:off x="7313612" y="5389200"/>
            <a:ext cx="1628776" cy="318240"/>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p>
        </p:txBody>
      </p:sp>
      <p:sp>
        <p:nvSpPr>
          <p:cNvPr id="22" name="Text Placeholder 6">
            <a:extLst>
              <a:ext uri="{FF2B5EF4-FFF2-40B4-BE49-F238E27FC236}">
                <a16:creationId xmlns:a16="http://schemas.microsoft.com/office/drawing/2014/main" id="{72AE0D8A-202F-43F6-AB72-839F68F575A8}"/>
              </a:ext>
            </a:extLst>
          </p:cNvPr>
          <p:cNvSpPr>
            <a:spLocks noGrp="1"/>
          </p:cNvSpPr>
          <p:nvPr>
            <p:ph type="body" sz="quarter" idx="27" hasCustomPrompt="1"/>
          </p:nvPr>
        </p:nvSpPr>
        <p:spPr>
          <a:xfrm>
            <a:off x="9756774" y="3144921"/>
            <a:ext cx="1630364"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indent="0">
              <a:lnSpc>
                <a:spcPct val="80000"/>
              </a:lnSpc>
              <a:spcAft>
                <a:spcPts val="0"/>
              </a:spcAft>
              <a:buNone/>
              <a:defRPr sz="1100" b="1" cap="all" baseline="0"/>
            </a:lvl4pPr>
            <a:lvl5pPr indent="0">
              <a:lnSpc>
                <a:spcPct val="80000"/>
              </a:lnSpc>
              <a:spcAft>
                <a:spcPts val="0"/>
              </a:spcAft>
              <a:buNone/>
              <a:defRPr sz="1100" b="1" cap="all" baseline="0"/>
            </a:lvl5pPr>
          </a:lstStyle>
          <a:p>
            <a:pPr lvl="0"/>
            <a:r>
              <a:rPr lang="en-GB"/>
              <a:t>Image text</a:t>
            </a:r>
          </a:p>
        </p:txBody>
      </p:sp>
      <p:sp>
        <p:nvSpPr>
          <p:cNvPr id="5" name="Text Placeholder 7">
            <a:extLst>
              <a:ext uri="{FF2B5EF4-FFF2-40B4-BE49-F238E27FC236}">
                <a16:creationId xmlns:a16="http://schemas.microsoft.com/office/drawing/2014/main" id="{553D49DA-A17B-44D7-8EBB-64C685A23079}"/>
              </a:ext>
            </a:extLst>
          </p:cNvPr>
          <p:cNvSpPr>
            <a:spLocks noGrp="1"/>
          </p:cNvSpPr>
          <p:nvPr>
            <p:ph type="body" sz="quarter" idx="28" hasCustomPrompt="1"/>
          </p:nvPr>
        </p:nvSpPr>
        <p:spPr>
          <a:xfrm>
            <a:off x="9756774" y="5389200"/>
            <a:ext cx="1630364"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3" y="1645033"/>
            <a:ext cx="5700711" cy="3745114"/>
          </a:xfrm>
          <a:solidFill>
            <a:srgbClr val="F6F6F4"/>
          </a:solidFill>
        </p:spPr>
        <p:txBody>
          <a:bodyPr tIns="0" anchor="t" anchorCtr="0"/>
          <a:lstStyle>
            <a:lvl1pPr>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3612" y="1645031"/>
            <a:ext cx="1628776" cy="1483869"/>
          </a:xfrm>
          <a:solidFill>
            <a:srgbClr val="F6F6F4"/>
          </a:solidFill>
        </p:spPr>
        <p:txBody>
          <a:bodyPr tIns="0" anchor="t" anchorCtr="0"/>
          <a:lstStyle>
            <a:lvl1pPr marL="0" indent="0">
              <a:buNone/>
              <a:defRPr/>
            </a:lvl1pPr>
          </a:lstStyle>
          <a:p>
            <a:r>
              <a:rPr lang="en-GB" noProof="0"/>
              <a:t>Mark placeholder to insert image</a:t>
            </a:r>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3612" y="3906278"/>
            <a:ext cx="1628776" cy="1483869"/>
          </a:xfrm>
          <a:solidFill>
            <a:srgbClr val="F6F6F4"/>
          </a:solidFill>
        </p:spPr>
        <p:txBody>
          <a:bodyPr tIns="0" anchor="t" anchorCtr="0"/>
          <a:lstStyle>
            <a:lvl1pPr marL="0" indent="0">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6774" y="1645032"/>
            <a:ext cx="1630364" cy="1483869"/>
          </a:xfrm>
          <a:solidFill>
            <a:srgbClr val="F6F6F4"/>
          </a:solidFill>
        </p:spPr>
        <p:txBody>
          <a:bodyPr tIns="0" anchor="t" anchorCtr="0"/>
          <a:lstStyle>
            <a:lvl1pPr marL="0" indent="0">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6774" y="3906279"/>
            <a:ext cx="1630363" cy="1483869"/>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5" name="Title 7">
            <a:extLst>
              <a:ext uri="{FF2B5EF4-FFF2-40B4-BE49-F238E27FC236}">
                <a16:creationId xmlns:a16="http://schemas.microsoft.com/office/drawing/2014/main" id="{109E8909-9BF2-426F-A556-859081C99CFB}"/>
              </a:ext>
            </a:extLst>
          </p:cNvPr>
          <p:cNvSpPr>
            <a:spLocks noGrp="1"/>
          </p:cNvSpPr>
          <p:nvPr>
            <p:ph type="title"/>
          </p:nvPr>
        </p:nvSpPr>
        <p:spPr>
          <a:xfrm>
            <a:off x="798512" y="452543"/>
            <a:ext cx="10588625" cy="748800"/>
          </a:xfrm>
        </p:spPr>
        <p:txBody>
          <a:bodyPr/>
          <a:lstStyle/>
          <a:p>
            <a:r>
              <a:rPr lang="en-GB"/>
              <a:t>Click to edit Master title style</a:t>
            </a:r>
          </a:p>
        </p:txBody>
      </p:sp>
      <p:sp>
        <p:nvSpPr>
          <p:cNvPr id="17" name="Footer Placeholder 4">
            <a:extLst>
              <a:ext uri="{FF2B5EF4-FFF2-40B4-BE49-F238E27FC236}">
                <a16:creationId xmlns:a16="http://schemas.microsoft.com/office/drawing/2014/main" id="{89EC51AE-5F71-4517-A9E0-7E30DE0DEAED}"/>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23" name="Date_DateCustomA">
            <a:extLst>
              <a:ext uri="{FF2B5EF4-FFF2-40B4-BE49-F238E27FC236}">
                <a16:creationId xmlns:a16="http://schemas.microsoft.com/office/drawing/2014/main" id="{9986C71A-FB30-4BC3-80B0-20BC5417034B}"/>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F178DCDE-D1A1-4EB4-8F09-37541DFBB130}" type="datetime1">
              <a:rPr lang="en-GB" smtClean="0"/>
              <a:t>04/03/2024</a:t>
            </a:fld>
            <a:endParaRPr lang="en-GB"/>
          </a:p>
        </p:txBody>
      </p:sp>
    </p:spTree>
    <p:extLst>
      <p:ext uri="{BB962C8B-B14F-4D97-AF65-F5344CB8AC3E}">
        <p14:creationId xmlns:p14="http://schemas.microsoft.com/office/powerpoint/2010/main" val="10050115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ive images (B)">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6925" y="5389200"/>
            <a:ext cx="3259138"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p>
        </p:txBody>
      </p:sp>
      <p:sp>
        <p:nvSpPr>
          <p:cNvPr id="15" name="Text Placeholder 4">
            <a:extLst>
              <a:ext uri="{FF2B5EF4-FFF2-40B4-BE49-F238E27FC236}">
                <a16:creationId xmlns:a16="http://schemas.microsoft.com/office/drawing/2014/main" id="{F02B0B2F-7F53-4AFC-9446-DB6C5777E698}"/>
              </a:ext>
            </a:extLst>
          </p:cNvPr>
          <p:cNvSpPr>
            <a:spLocks noGrp="1"/>
          </p:cNvSpPr>
          <p:nvPr>
            <p:ph type="body" sz="quarter" idx="27" hasCustomPrompt="1"/>
          </p:nvPr>
        </p:nvSpPr>
        <p:spPr>
          <a:xfrm>
            <a:off x="4875214" y="3146400"/>
            <a:ext cx="6485932"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p>
        </p:txBody>
      </p:sp>
      <p:sp>
        <p:nvSpPr>
          <p:cNvPr id="20" name="Text Placeholder 5">
            <a:extLst>
              <a:ext uri="{FF2B5EF4-FFF2-40B4-BE49-F238E27FC236}">
                <a16:creationId xmlns:a16="http://schemas.microsoft.com/office/drawing/2014/main" id="{0662756F-E3F0-402D-9E22-0BE6B392C8C9}"/>
              </a:ext>
            </a:extLst>
          </p:cNvPr>
          <p:cNvSpPr>
            <a:spLocks noGrp="1"/>
          </p:cNvSpPr>
          <p:nvPr>
            <p:ph type="body" sz="quarter" idx="28" hasCustomPrompt="1"/>
          </p:nvPr>
        </p:nvSpPr>
        <p:spPr>
          <a:xfrm>
            <a:off x="4870451" y="5389200"/>
            <a:ext cx="1625600" cy="318240"/>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p>
        </p:txBody>
      </p:sp>
      <p:sp>
        <p:nvSpPr>
          <p:cNvPr id="21" name="Text Placeholder 6">
            <a:extLst>
              <a:ext uri="{FF2B5EF4-FFF2-40B4-BE49-F238E27FC236}">
                <a16:creationId xmlns:a16="http://schemas.microsoft.com/office/drawing/2014/main" id="{BE7208CB-CE86-4F3D-B12C-D8268891AA47}"/>
              </a:ext>
            </a:extLst>
          </p:cNvPr>
          <p:cNvSpPr>
            <a:spLocks noGrp="1"/>
          </p:cNvSpPr>
          <p:nvPr>
            <p:ph type="body" sz="quarter" idx="29" hasCustomPrompt="1"/>
          </p:nvPr>
        </p:nvSpPr>
        <p:spPr>
          <a:xfrm>
            <a:off x="7313613" y="5389200"/>
            <a:ext cx="1628775"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indent="0">
              <a:lnSpc>
                <a:spcPct val="80000"/>
              </a:lnSpc>
              <a:spcAft>
                <a:spcPts val="0"/>
              </a:spcAft>
              <a:buNone/>
              <a:defRPr sz="1100" b="1" cap="all" baseline="0"/>
            </a:lvl4pPr>
            <a:lvl5pPr indent="0">
              <a:lnSpc>
                <a:spcPct val="80000"/>
              </a:lnSpc>
              <a:spcAft>
                <a:spcPts val="0"/>
              </a:spcAft>
              <a:buNone/>
              <a:defRPr sz="1100" b="1" cap="all" baseline="0"/>
            </a:lvl5pPr>
          </a:lstStyle>
          <a:p>
            <a:pPr lvl="0"/>
            <a:r>
              <a:rPr lang="en-GB"/>
              <a:t>Image text</a:t>
            </a:r>
          </a:p>
        </p:txBody>
      </p:sp>
      <p:sp>
        <p:nvSpPr>
          <p:cNvPr id="22" name="Text Placeholder 7">
            <a:extLst>
              <a:ext uri="{FF2B5EF4-FFF2-40B4-BE49-F238E27FC236}">
                <a16:creationId xmlns:a16="http://schemas.microsoft.com/office/drawing/2014/main" id="{06E02B92-F862-4F76-B8DC-8C3D1FC7F977}"/>
              </a:ext>
            </a:extLst>
          </p:cNvPr>
          <p:cNvSpPr>
            <a:spLocks noGrp="1"/>
          </p:cNvSpPr>
          <p:nvPr>
            <p:ph type="body" sz="quarter" idx="30" hasCustomPrompt="1"/>
          </p:nvPr>
        </p:nvSpPr>
        <p:spPr>
          <a:xfrm>
            <a:off x="9756775" y="5389200"/>
            <a:ext cx="1630363"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4" y="1645033"/>
            <a:ext cx="3257550" cy="3745114"/>
          </a:xfrm>
          <a:solidFill>
            <a:srgbClr val="F6F6F4"/>
          </a:solidFill>
        </p:spPr>
        <p:txBody>
          <a:bodyPr tIns="0" anchor="t" anchorCtr="0"/>
          <a:lstStyle>
            <a:lvl1pPr marL="0" indent="0">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4870450" y="1645031"/>
            <a:ext cx="6516688" cy="1483869"/>
          </a:xfrm>
          <a:solidFill>
            <a:srgbClr val="F6F6F4"/>
          </a:solidFill>
        </p:spPr>
        <p:txBody>
          <a:bodyPr tIns="0" anchor="t" anchorCtr="0"/>
          <a:lstStyle>
            <a:lvl1pPr marL="0" indent="0">
              <a:buNone/>
              <a:defRPr/>
            </a:lvl1pPr>
          </a:lstStyle>
          <a:p>
            <a:r>
              <a:rPr lang="en-GB" noProof="0"/>
              <a:t>Mark placeholder to insert image</a:t>
            </a:r>
          </a:p>
        </p:txBody>
      </p:sp>
      <p:sp>
        <p:nvSpPr>
          <p:cNvPr id="32" name="Picture Placeholder 3">
            <a:extLst>
              <a:ext uri="{FF2B5EF4-FFF2-40B4-BE49-F238E27FC236}">
                <a16:creationId xmlns:a16="http://schemas.microsoft.com/office/drawing/2014/main" id="{BD840AF9-BBF8-4202-BC96-375E5BEB71AA}"/>
              </a:ext>
            </a:extLst>
          </p:cNvPr>
          <p:cNvSpPr>
            <a:spLocks noGrp="1"/>
          </p:cNvSpPr>
          <p:nvPr>
            <p:ph type="pic" sz="quarter" idx="26" hasCustomPrompt="1"/>
          </p:nvPr>
        </p:nvSpPr>
        <p:spPr>
          <a:xfrm>
            <a:off x="4870450" y="3906000"/>
            <a:ext cx="1628775" cy="1483869"/>
          </a:xfrm>
          <a:solidFill>
            <a:srgbClr val="F6F6F4"/>
          </a:solidFill>
        </p:spPr>
        <p:txBody>
          <a:bodyPr tIns="0" anchor="t" anchorCtr="0"/>
          <a:lstStyle>
            <a:lvl1pPr marL="0" indent="0">
              <a:buNone/>
              <a:defRPr/>
            </a:lvl1pPr>
          </a:lstStyle>
          <a:p>
            <a:r>
              <a:rPr lang="en-GB" noProof="0"/>
              <a:t>Mark placeholder to insert image</a:t>
            </a:r>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3613" y="3906278"/>
            <a:ext cx="1628775" cy="1483869"/>
          </a:xfrm>
          <a:solidFill>
            <a:srgbClr val="F6F6F4"/>
          </a:solidFill>
        </p:spPr>
        <p:txBody>
          <a:bodyPr tIns="0" anchor="t" anchorCtr="0"/>
          <a:lstStyle>
            <a:lvl1pPr marL="0" indent="0">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6774" y="3906279"/>
            <a:ext cx="1630363" cy="1483869"/>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7" name="Title 7">
            <a:extLst>
              <a:ext uri="{FF2B5EF4-FFF2-40B4-BE49-F238E27FC236}">
                <a16:creationId xmlns:a16="http://schemas.microsoft.com/office/drawing/2014/main" id="{299AE5C6-8512-40FE-B386-E39B5659754F}"/>
              </a:ext>
            </a:extLst>
          </p:cNvPr>
          <p:cNvSpPr>
            <a:spLocks noGrp="1"/>
          </p:cNvSpPr>
          <p:nvPr>
            <p:ph type="title"/>
          </p:nvPr>
        </p:nvSpPr>
        <p:spPr>
          <a:xfrm>
            <a:off x="798512" y="452543"/>
            <a:ext cx="10588625" cy="748800"/>
          </a:xfrm>
        </p:spPr>
        <p:txBody>
          <a:bodyPr/>
          <a:lstStyle/>
          <a:p>
            <a:r>
              <a:rPr lang="en-GB"/>
              <a:t>Click to edit Master title style</a:t>
            </a:r>
          </a:p>
        </p:txBody>
      </p:sp>
      <p:sp>
        <p:nvSpPr>
          <p:cNvPr id="19" name="Footer Placeholder 4">
            <a:extLst>
              <a:ext uri="{FF2B5EF4-FFF2-40B4-BE49-F238E27FC236}">
                <a16:creationId xmlns:a16="http://schemas.microsoft.com/office/drawing/2014/main" id="{DB9DA6D0-8869-4337-BEAF-0ADAFE06FB4B}"/>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24" name="Date_DateCustomA">
            <a:extLst>
              <a:ext uri="{FF2B5EF4-FFF2-40B4-BE49-F238E27FC236}">
                <a16:creationId xmlns:a16="http://schemas.microsoft.com/office/drawing/2014/main" id="{A387D7D7-69FC-41FF-BDFD-687A499B6122}"/>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5944EB0A-8F31-4F12-A58B-82FA23A642B9}" type="datetime1">
              <a:rPr lang="en-GB" smtClean="0"/>
              <a:t>04/03/2024</a:t>
            </a:fld>
            <a:endParaRPr lang="en-GB"/>
          </a:p>
        </p:txBody>
      </p:sp>
    </p:spTree>
    <p:extLst>
      <p:ext uri="{BB962C8B-B14F-4D97-AF65-F5344CB8AC3E}">
        <p14:creationId xmlns:p14="http://schemas.microsoft.com/office/powerpoint/2010/main" val="22259722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full slide image">
    <p:spTree>
      <p:nvGrpSpPr>
        <p:cNvPr id="1" name=""/>
        <p:cNvGrpSpPr/>
        <p:nvPr/>
      </p:nvGrpSpPr>
      <p:grpSpPr>
        <a:xfrm>
          <a:off x="0" y="0"/>
          <a:ext cx="0" cy="0"/>
          <a:chOff x="0" y="0"/>
          <a:chExt cx="0" cy="0"/>
        </a:xfrm>
      </p:grpSpPr>
      <p:sp>
        <p:nvSpPr>
          <p:cNvPr id="4" name="Background"/>
          <p:cNvSpPr/>
          <p:nvPr userDrawn="1"/>
        </p:nvSpPr>
        <p:spPr>
          <a:xfrm>
            <a:off x="0" y="0"/>
            <a:ext cx="121896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 name="Picture Placeholder 5"/>
          <p:cNvSpPr>
            <a:spLocks noGrp="1"/>
          </p:cNvSpPr>
          <p:nvPr>
            <p:ph type="pic" sz="quarter" idx="10" hasCustomPrompt="1"/>
          </p:nvPr>
        </p:nvSpPr>
        <p:spPr>
          <a:xfrm>
            <a:off x="-1" y="0"/>
            <a:ext cx="12193200" cy="6861600"/>
          </a:xfrm>
          <a:solidFill>
            <a:srgbClr val="F6F6F4"/>
          </a:solidFill>
        </p:spPr>
        <p:txBody>
          <a:bodyPr tIns="0" anchor="t" anchorCtr="0"/>
          <a:lstStyle>
            <a:lvl1pPr algn="ctr">
              <a:buNone/>
              <a:defRPr>
                <a:solidFill>
                  <a:schemeClr val="tx1"/>
                </a:solidFill>
              </a:defRPr>
            </a:lvl1pPr>
          </a:lstStyle>
          <a:p>
            <a:r>
              <a:rPr lang="en-GB" noProof="0"/>
              <a:t>Mark placeholder to insert image</a:t>
            </a:r>
          </a:p>
        </p:txBody>
      </p:sp>
      <p:sp>
        <p:nvSpPr>
          <p:cNvPr id="2" name="Title 1"/>
          <p:cNvSpPr>
            <a:spLocks noGrp="1"/>
          </p:cNvSpPr>
          <p:nvPr>
            <p:ph type="title"/>
          </p:nvPr>
        </p:nvSpPr>
        <p:spPr>
          <a:xfrm>
            <a:off x="816928" y="452543"/>
            <a:ext cx="10555200" cy="1056245"/>
          </a:xfrm>
        </p:spPr>
        <p:txBody>
          <a:bodyPr/>
          <a:lstStyle>
            <a:lvl1pPr>
              <a:defRPr>
                <a:solidFill>
                  <a:schemeClr val="tx2"/>
                </a:solidFill>
              </a:defRPr>
            </a:lvl1pPr>
          </a:lstStyle>
          <a:p>
            <a:r>
              <a:rPr lang="en-GB" noProof="0"/>
              <a:t>Click to edit Master title style</a:t>
            </a:r>
          </a:p>
        </p:txBody>
      </p:sp>
      <p:sp>
        <p:nvSpPr>
          <p:cNvPr id="9" name="Text Placeholder 15">
            <a:extLst>
              <a:ext uri="{FF2B5EF4-FFF2-40B4-BE49-F238E27FC236}">
                <a16:creationId xmlns:a16="http://schemas.microsoft.com/office/drawing/2014/main" id="{1C804A56-02C2-4000-8DE1-4C682601C756}"/>
              </a:ext>
            </a:extLst>
          </p:cNvPr>
          <p:cNvSpPr>
            <a:spLocks noGrp="1"/>
          </p:cNvSpPr>
          <p:nvPr>
            <p:ph type="body" sz="quarter" idx="12" hasCustomPrompt="1"/>
          </p:nvPr>
        </p:nvSpPr>
        <p:spPr bwMode="auto">
          <a:xfrm>
            <a:off x="798513" y="6159600"/>
            <a:ext cx="1220400" cy="255600"/>
          </a:xfrm>
          <a:custGeom>
            <a:avLst/>
            <a:gdLst>
              <a:gd name="connsiteX0" fmla="*/ 10555461 w 20742935"/>
              <a:gd name="connsiteY0" fmla="*/ 2313797 h 4374000"/>
              <a:gd name="connsiteX1" fmla="*/ 11078393 w 20742935"/>
              <a:gd name="connsiteY1" fmla="*/ 2313797 h 4374000"/>
              <a:gd name="connsiteX2" fmla="*/ 11427013 w 20742935"/>
              <a:gd name="connsiteY2" fmla="*/ 2549249 h 4374000"/>
              <a:gd name="connsiteX3" fmla="*/ 11097761 w 20742935"/>
              <a:gd name="connsiteY3" fmla="*/ 2784701 h 4374000"/>
              <a:gd name="connsiteX4" fmla="*/ 10555461 w 20742935"/>
              <a:gd name="connsiteY4" fmla="*/ 2784701 h 4374000"/>
              <a:gd name="connsiteX5" fmla="*/ 10555461 w 20742935"/>
              <a:gd name="connsiteY5" fmla="*/ 2313797 h 4374000"/>
              <a:gd name="connsiteX6" fmla="*/ 5442357 w 20742935"/>
              <a:gd name="connsiteY6" fmla="*/ 1627063 h 4374000"/>
              <a:gd name="connsiteX7" fmla="*/ 5732875 w 20742935"/>
              <a:gd name="connsiteY7" fmla="*/ 2313797 h 4374000"/>
              <a:gd name="connsiteX8" fmla="*/ 5151840 w 20742935"/>
              <a:gd name="connsiteY8" fmla="*/ 2313797 h 4374000"/>
              <a:gd name="connsiteX9" fmla="*/ 2556552 w 20742935"/>
              <a:gd name="connsiteY9" fmla="*/ 1509337 h 4374000"/>
              <a:gd name="connsiteX10" fmla="*/ 3002012 w 20742935"/>
              <a:gd name="connsiteY10" fmla="*/ 1509337 h 4374000"/>
              <a:gd name="connsiteX11" fmla="*/ 3350633 w 20742935"/>
              <a:gd name="connsiteY11" fmla="*/ 1803652 h 4374000"/>
              <a:gd name="connsiteX12" fmla="*/ 3002012 w 20742935"/>
              <a:gd name="connsiteY12" fmla="*/ 2117588 h 4374000"/>
              <a:gd name="connsiteX13" fmla="*/ 2556552 w 20742935"/>
              <a:gd name="connsiteY13" fmla="*/ 2117588 h 4374000"/>
              <a:gd name="connsiteX14" fmla="*/ 2556552 w 20742935"/>
              <a:gd name="connsiteY14" fmla="*/ 1509337 h 4374000"/>
              <a:gd name="connsiteX15" fmla="*/ 10555461 w 20742935"/>
              <a:gd name="connsiteY15" fmla="*/ 1489716 h 4374000"/>
              <a:gd name="connsiteX16" fmla="*/ 11000921 w 20742935"/>
              <a:gd name="connsiteY16" fmla="*/ 1489716 h 4374000"/>
              <a:gd name="connsiteX17" fmla="*/ 11310807 w 20742935"/>
              <a:gd name="connsiteY17" fmla="*/ 1725168 h 4374000"/>
              <a:gd name="connsiteX18" fmla="*/ 10981553 w 20742935"/>
              <a:gd name="connsiteY18" fmla="*/ 1940999 h 4374000"/>
              <a:gd name="connsiteX19" fmla="*/ 10555461 w 20742935"/>
              <a:gd name="connsiteY19" fmla="*/ 1940999 h 4374000"/>
              <a:gd name="connsiteX20" fmla="*/ 10555461 w 20742935"/>
              <a:gd name="connsiteY20" fmla="*/ 1489716 h 4374000"/>
              <a:gd name="connsiteX21" fmla="*/ 10342417 w 20742935"/>
              <a:gd name="connsiteY21" fmla="*/ 1097297 h 4374000"/>
              <a:gd name="connsiteX22" fmla="*/ 10110001 w 20742935"/>
              <a:gd name="connsiteY22" fmla="*/ 1332749 h 4374000"/>
              <a:gd name="connsiteX23" fmla="*/ 10110001 w 20742935"/>
              <a:gd name="connsiteY23" fmla="*/ 2941669 h 4374000"/>
              <a:gd name="connsiteX24" fmla="*/ 10342417 w 20742935"/>
              <a:gd name="connsiteY24" fmla="*/ 3177120 h 4374000"/>
              <a:gd name="connsiteX25" fmla="*/ 11097761 w 20742935"/>
              <a:gd name="connsiteY25" fmla="*/ 3177120 h 4374000"/>
              <a:gd name="connsiteX26" fmla="*/ 11872473 w 20742935"/>
              <a:gd name="connsiteY26" fmla="*/ 2608112 h 4374000"/>
              <a:gd name="connsiteX27" fmla="*/ 11485117 w 20742935"/>
              <a:gd name="connsiteY27" fmla="*/ 2097967 h 4374000"/>
              <a:gd name="connsiteX28" fmla="*/ 11756267 w 20742935"/>
              <a:gd name="connsiteY28" fmla="*/ 1627063 h 4374000"/>
              <a:gd name="connsiteX29" fmla="*/ 11620693 w 20742935"/>
              <a:gd name="connsiteY29" fmla="*/ 1273886 h 4374000"/>
              <a:gd name="connsiteX30" fmla="*/ 11078393 w 20742935"/>
              <a:gd name="connsiteY30" fmla="*/ 1097297 h 4374000"/>
              <a:gd name="connsiteX31" fmla="*/ 2324139 w 20742935"/>
              <a:gd name="connsiteY31" fmla="*/ 1097297 h 4374000"/>
              <a:gd name="connsiteX32" fmla="*/ 2091725 w 20742935"/>
              <a:gd name="connsiteY32" fmla="*/ 1332749 h 4374000"/>
              <a:gd name="connsiteX33" fmla="*/ 2091725 w 20742935"/>
              <a:gd name="connsiteY33" fmla="*/ 2961290 h 4374000"/>
              <a:gd name="connsiteX34" fmla="*/ 2324139 w 20742935"/>
              <a:gd name="connsiteY34" fmla="*/ 3196741 h 4374000"/>
              <a:gd name="connsiteX35" fmla="*/ 2556552 w 20742935"/>
              <a:gd name="connsiteY35" fmla="*/ 2961290 h 4374000"/>
              <a:gd name="connsiteX36" fmla="*/ 2556552 w 20742935"/>
              <a:gd name="connsiteY36" fmla="*/ 2510007 h 4374000"/>
              <a:gd name="connsiteX37" fmla="*/ 2905173 w 20742935"/>
              <a:gd name="connsiteY37" fmla="*/ 2510007 h 4374000"/>
              <a:gd name="connsiteX38" fmla="*/ 3350633 w 20742935"/>
              <a:gd name="connsiteY38" fmla="*/ 3079016 h 4374000"/>
              <a:gd name="connsiteX39" fmla="*/ 3563679 w 20742935"/>
              <a:gd name="connsiteY39" fmla="*/ 3196741 h 4374000"/>
              <a:gd name="connsiteX40" fmla="*/ 3796093 w 20742935"/>
              <a:gd name="connsiteY40" fmla="*/ 2980911 h 4374000"/>
              <a:gd name="connsiteX41" fmla="*/ 3718621 w 20742935"/>
              <a:gd name="connsiteY41" fmla="*/ 2804322 h 4374000"/>
              <a:gd name="connsiteX42" fmla="*/ 3408736 w 20742935"/>
              <a:gd name="connsiteY42" fmla="*/ 2431523 h 4374000"/>
              <a:gd name="connsiteX43" fmla="*/ 3815461 w 20742935"/>
              <a:gd name="connsiteY43" fmla="*/ 1784031 h 4374000"/>
              <a:gd name="connsiteX44" fmla="*/ 3641150 w 20742935"/>
              <a:gd name="connsiteY44" fmla="*/ 1313128 h 4374000"/>
              <a:gd name="connsiteX45" fmla="*/ 3040748 w 20742935"/>
              <a:gd name="connsiteY45" fmla="*/ 1097297 h 4374000"/>
              <a:gd name="connsiteX46" fmla="*/ 2324139 w 20742935"/>
              <a:gd name="connsiteY46" fmla="*/ 1097297 h 4374000"/>
              <a:gd name="connsiteX47" fmla="*/ 17799025 w 20742935"/>
              <a:gd name="connsiteY47" fmla="*/ 1077676 h 4374000"/>
              <a:gd name="connsiteX48" fmla="*/ 17585981 w 20742935"/>
              <a:gd name="connsiteY48" fmla="*/ 1313128 h 4374000"/>
              <a:gd name="connsiteX49" fmla="*/ 17585981 w 20742935"/>
              <a:gd name="connsiteY49" fmla="*/ 2941669 h 4374000"/>
              <a:gd name="connsiteX50" fmla="*/ 17799025 w 20742935"/>
              <a:gd name="connsiteY50" fmla="*/ 3177120 h 4374000"/>
              <a:gd name="connsiteX51" fmla="*/ 18883625 w 20742935"/>
              <a:gd name="connsiteY51" fmla="*/ 3177120 h 4374000"/>
              <a:gd name="connsiteX52" fmla="*/ 19077301 w 20742935"/>
              <a:gd name="connsiteY52" fmla="*/ 2980911 h 4374000"/>
              <a:gd name="connsiteX53" fmla="*/ 18883625 w 20742935"/>
              <a:gd name="connsiteY53" fmla="*/ 2765080 h 4374000"/>
              <a:gd name="connsiteX54" fmla="*/ 18031441 w 20742935"/>
              <a:gd name="connsiteY54" fmla="*/ 2765080 h 4374000"/>
              <a:gd name="connsiteX55" fmla="*/ 18031441 w 20742935"/>
              <a:gd name="connsiteY55" fmla="*/ 1313128 h 4374000"/>
              <a:gd name="connsiteX56" fmla="*/ 17799025 w 20742935"/>
              <a:gd name="connsiteY56" fmla="*/ 1077676 h 4374000"/>
              <a:gd name="connsiteX57" fmla="*/ 15707301 w 20742935"/>
              <a:gd name="connsiteY57" fmla="*/ 1077676 h 4374000"/>
              <a:gd name="connsiteX58" fmla="*/ 15474889 w 20742935"/>
              <a:gd name="connsiteY58" fmla="*/ 1313128 h 4374000"/>
              <a:gd name="connsiteX59" fmla="*/ 15474889 w 20742935"/>
              <a:gd name="connsiteY59" fmla="*/ 2941669 h 4374000"/>
              <a:gd name="connsiteX60" fmla="*/ 15707301 w 20742935"/>
              <a:gd name="connsiteY60" fmla="*/ 3177120 h 4374000"/>
              <a:gd name="connsiteX61" fmla="*/ 16772533 w 20742935"/>
              <a:gd name="connsiteY61" fmla="*/ 3177120 h 4374000"/>
              <a:gd name="connsiteX62" fmla="*/ 16985577 w 20742935"/>
              <a:gd name="connsiteY62" fmla="*/ 2980911 h 4374000"/>
              <a:gd name="connsiteX63" fmla="*/ 16772533 w 20742935"/>
              <a:gd name="connsiteY63" fmla="*/ 2765080 h 4374000"/>
              <a:gd name="connsiteX64" fmla="*/ 15939717 w 20742935"/>
              <a:gd name="connsiteY64" fmla="*/ 2765080 h 4374000"/>
              <a:gd name="connsiteX65" fmla="*/ 15939717 w 20742935"/>
              <a:gd name="connsiteY65" fmla="*/ 1313128 h 4374000"/>
              <a:gd name="connsiteX66" fmla="*/ 15707301 w 20742935"/>
              <a:gd name="connsiteY66" fmla="*/ 1077676 h 4374000"/>
              <a:gd name="connsiteX67" fmla="*/ 7417875 w 20742935"/>
              <a:gd name="connsiteY67" fmla="*/ 1077676 h 4374000"/>
              <a:gd name="connsiteX68" fmla="*/ 7166093 w 20742935"/>
              <a:gd name="connsiteY68" fmla="*/ 1293507 h 4374000"/>
              <a:gd name="connsiteX69" fmla="*/ 7166093 w 20742935"/>
              <a:gd name="connsiteY69" fmla="*/ 2961290 h 4374000"/>
              <a:gd name="connsiteX70" fmla="*/ 7398507 w 20742935"/>
              <a:gd name="connsiteY70" fmla="*/ 3196741 h 4374000"/>
              <a:gd name="connsiteX71" fmla="*/ 7611553 w 20742935"/>
              <a:gd name="connsiteY71" fmla="*/ 2961290 h 4374000"/>
              <a:gd name="connsiteX72" fmla="*/ 7611553 w 20742935"/>
              <a:gd name="connsiteY72" fmla="*/ 1940999 h 4374000"/>
              <a:gd name="connsiteX73" fmla="*/ 7998909 w 20742935"/>
              <a:gd name="connsiteY73" fmla="*/ 2549249 h 4374000"/>
              <a:gd name="connsiteX74" fmla="*/ 8192589 w 20742935"/>
              <a:gd name="connsiteY74" fmla="*/ 2666975 h 4374000"/>
              <a:gd name="connsiteX75" fmla="*/ 8386265 w 20742935"/>
              <a:gd name="connsiteY75" fmla="*/ 2549249 h 4374000"/>
              <a:gd name="connsiteX76" fmla="*/ 8773621 w 20742935"/>
              <a:gd name="connsiteY76" fmla="*/ 1921378 h 4374000"/>
              <a:gd name="connsiteX77" fmla="*/ 8773621 w 20742935"/>
              <a:gd name="connsiteY77" fmla="*/ 2961290 h 4374000"/>
              <a:gd name="connsiteX78" fmla="*/ 9006037 w 20742935"/>
              <a:gd name="connsiteY78" fmla="*/ 3196741 h 4374000"/>
              <a:gd name="connsiteX79" fmla="*/ 9238449 w 20742935"/>
              <a:gd name="connsiteY79" fmla="*/ 2961290 h 4374000"/>
              <a:gd name="connsiteX80" fmla="*/ 9238449 w 20742935"/>
              <a:gd name="connsiteY80" fmla="*/ 1293507 h 4374000"/>
              <a:gd name="connsiteX81" fmla="*/ 8986669 w 20742935"/>
              <a:gd name="connsiteY81" fmla="*/ 1077676 h 4374000"/>
              <a:gd name="connsiteX82" fmla="*/ 8734887 w 20742935"/>
              <a:gd name="connsiteY82" fmla="*/ 1215023 h 4374000"/>
              <a:gd name="connsiteX83" fmla="*/ 8211955 w 20742935"/>
              <a:gd name="connsiteY83" fmla="*/ 2097967 h 4374000"/>
              <a:gd name="connsiteX84" fmla="*/ 7669657 w 20742935"/>
              <a:gd name="connsiteY84" fmla="*/ 1215023 h 4374000"/>
              <a:gd name="connsiteX85" fmla="*/ 7417875 w 20742935"/>
              <a:gd name="connsiteY85" fmla="*/ 1077676 h 4374000"/>
              <a:gd name="connsiteX86" fmla="*/ 5461725 w 20742935"/>
              <a:gd name="connsiteY86" fmla="*/ 1058055 h 4374000"/>
              <a:gd name="connsiteX87" fmla="*/ 5171208 w 20742935"/>
              <a:gd name="connsiteY87" fmla="*/ 1234644 h 4374000"/>
              <a:gd name="connsiteX88" fmla="*/ 4454599 w 20742935"/>
              <a:gd name="connsiteY88" fmla="*/ 2882806 h 4374000"/>
              <a:gd name="connsiteX89" fmla="*/ 4435231 w 20742935"/>
              <a:gd name="connsiteY89" fmla="*/ 3000532 h 4374000"/>
              <a:gd name="connsiteX90" fmla="*/ 4648277 w 20742935"/>
              <a:gd name="connsiteY90" fmla="*/ 3196741 h 4374000"/>
              <a:gd name="connsiteX91" fmla="*/ 4841955 w 20742935"/>
              <a:gd name="connsiteY91" fmla="*/ 3059395 h 4374000"/>
              <a:gd name="connsiteX92" fmla="*/ 4996897 w 20742935"/>
              <a:gd name="connsiteY92" fmla="*/ 2706217 h 4374000"/>
              <a:gd name="connsiteX93" fmla="*/ 5907185 w 20742935"/>
              <a:gd name="connsiteY93" fmla="*/ 2706217 h 4374000"/>
              <a:gd name="connsiteX94" fmla="*/ 6042760 w 20742935"/>
              <a:gd name="connsiteY94" fmla="*/ 3059395 h 4374000"/>
              <a:gd name="connsiteX95" fmla="*/ 6255805 w 20742935"/>
              <a:gd name="connsiteY95" fmla="*/ 3196741 h 4374000"/>
              <a:gd name="connsiteX96" fmla="*/ 6468853 w 20742935"/>
              <a:gd name="connsiteY96" fmla="*/ 3000532 h 4374000"/>
              <a:gd name="connsiteX97" fmla="*/ 6449485 w 20742935"/>
              <a:gd name="connsiteY97" fmla="*/ 2882806 h 4374000"/>
              <a:gd name="connsiteX98" fmla="*/ 5732875 w 20742935"/>
              <a:gd name="connsiteY98" fmla="*/ 1234644 h 4374000"/>
              <a:gd name="connsiteX99" fmla="*/ 5461725 w 20742935"/>
              <a:gd name="connsiteY99" fmla="*/ 1058055 h 4374000"/>
              <a:gd name="connsiteX100" fmla="*/ 847119 w 20742935"/>
              <a:gd name="connsiteY100" fmla="*/ 0 h 4374000"/>
              <a:gd name="connsiteX101" fmla="*/ 14021983 w 20742935"/>
              <a:gd name="connsiteY101" fmla="*/ 0 h 4374000"/>
              <a:gd name="connsiteX102" fmla="*/ 14021847 w 20742935"/>
              <a:gd name="connsiteY102" fmla="*/ 630 h 4374000"/>
              <a:gd name="connsiteX103" fmla="*/ 13789889 w 20742935"/>
              <a:gd name="connsiteY103" fmla="*/ 1077676 h 4374000"/>
              <a:gd name="connsiteX104" fmla="*/ 13615577 w 20742935"/>
              <a:gd name="connsiteY104" fmla="*/ 1058055 h 4374000"/>
              <a:gd name="connsiteX105" fmla="*/ 12511613 w 20742935"/>
              <a:gd name="connsiteY105" fmla="*/ 2137209 h 4374000"/>
              <a:gd name="connsiteX106" fmla="*/ 13596209 w 20742935"/>
              <a:gd name="connsiteY106" fmla="*/ 3216362 h 4374000"/>
              <a:gd name="connsiteX107" fmla="*/ 14700175 w 20742935"/>
              <a:gd name="connsiteY107" fmla="*/ 2137209 h 4374000"/>
              <a:gd name="connsiteX108" fmla="*/ 14583969 w 20742935"/>
              <a:gd name="connsiteY108" fmla="*/ 1646684 h 4374000"/>
              <a:gd name="connsiteX109" fmla="*/ 14196613 w 20742935"/>
              <a:gd name="connsiteY109" fmla="*/ 1940999 h 4374000"/>
              <a:gd name="connsiteX110" fmla="*/ 14235349 w 20742935"/>
              <a:gd name="connsiteY110" fmla="*/ 2137209 h 4374000"/>
              <a:gd name="connsiteX111" fmla="*/ 13615577 w 20742935"/>
              <a:gd name="connsiteY111" fmla="*/ 2784701 h 4374000"/>
              <a:gd name="connsiteX112" fmla="*/ 12976439 w 20742935"/>
              <a:gd name="connsiteY112" fmla="*/ 2137209 h 4374000"/>
              <a:gd name="connsiteX113" fmla="*/ 13596209 w 20742935"/>
              <a:gd name="connsiteY113" fmla="*/ 1489716 h 4374000"/>
              <a:gd name="connsiteX114" fmla="*/ 13693049 w 20742935"/>
              <a:gd name="connsiteY114" fmla="*/ 1489716 h 4374000"/>
              <a:gd name="connsiteX115" fmla="*/ 13518737 w 20742935"/>
              <a:gd name="connsiteY115" fmla="*/ 2274556 h 4374000"/>
              <a:gd name="connsiteX116" fmla="*/ 13576841 w 20742935"/>
              <a:gd name="connsiteY116" fmla="*/ 2313797 h 4374000"/>
              <a:gd name="connsiteX117" fmla="*/ 15302449 w 20742935"/>
              <a:gd name="connsiteY117" fmla="*/ 208867 h 4374000"/>
              <a:gd name="connsiteX118" fmla="*/ 15473677 w 20742935"/>
              <a:gd name="connsiteY118" fmla="*/ 0 h 4374000"/>
              <a:gd name="connsiteX119" fmla="*/ 19895817 w 20742935"/>
              <a:gd name="connsiteY119" fmla="*/ 0 h 4374000"/>
              <a:gd name="connsiteX120" fmla="*/ 20086775 w 20742935"/>
              <a:gd name="connsiteY120" fmla="*/ 11552 h 4374000"/>
              <a:gd name="connsiteX121" fmla="*/ 20739957 w 20742935"/>
              <a:gd name="connsiteY121" fmla="*/ 787481 h 4374000"/>
              <a:gd name="connsiteX122" fmla="*/ 20742935 w 20742935"/>
              <a:gd name="connsiteY122" fmla="*/ 901016 h 4374000"/>
              <a:gd name="connsiteX123" fmla="*/ 20742935 w 20742935"/>
              <a:gd name="connsiteY123" fmla="*/ 3471506 h 4374000"/>
              <a:gd name="connsiteX124" fmla="*/ 20739957 w 20742935"/>
              <a:gd name="connsiteY124" fmla="*/ 3585041 h 4374000"/>
              <a:gd name="connsiteX125" fmla="*/ 19871385 w 20742935"/>
              <a:gd name="connsiteY125" fmla="*/ 4374000 h 4374000"/>
              <a:gd name="connsiteX126" fmla="*/ 871552 w 20742935"/>
              <a:gd name="connsiteY126" fmla="*/ 4374000 h 4374000"/>
              <a:gd name="connsiteX127" fmla="*/ 0 w 20742935"/>
              <a:gd name="connsiteY127" fmla="*/ 3471435 h 4374000"/>
              <a:gd name="connsiteX128" fmla="*/ 0 w 20742935"/>
              <a:gd name="connsiteY128" fmla="*/ 901087 h 4374000"/>
              <a:gd name="connsiteX129" fmla="*/ 656161 w 20742935"/>
              <a:gd name="connsiteY129" fmla="*/ 11552 h 43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0742935" h="4374000">
                <a:moveTo>
                  <a:pt x="10555461" y="2313797"/>
                </a:moveTo>
                <a:cubicBezTo>
                  <a:pt x="10555461" y="2313797"/>
                  <a:pt x="10555461" y="2313797"/>
                  <a:pt x="11078393" y="2313797"/>
                </a:cubicBezTo>
                <a:cubicBezTo>
                  <a:pt x="11310807" y="2313797"/>
                  <a:pt x="11427013" y="2411902"/>
                  <a:pt x="11427013" y="2549249"/>
                </a:cubicBezTo>
                <a:cubicBezTo>
                  <a:pt x="11427013" y="2706217"/>
                  <a:pt x="11291439" y="2784701"/>
                  <a:pt x="11097761" y="2784701"/>
                </a:cubicBezTo>
                <a:cubicBezTo>
                  <a:pt x="11097761" y="2784701"/>
                  <a:pt x="11097761" y="2784701"/>
                  <a:pt x="10555461" y="2784701"/>
                </a:cubicBezTo>
                <a:cubicBezTo>
                  <a:pt x="10555461" y="2784701"/>
                  <a:pt x="10555461" y="2784701"/>
                  <a:pt x="10555461" y="2313797"/>
                </a:cubicBezTo>
                <a:close/>
                <a:moveTo>
                  <a:pt x="5442357" y="1627063"/>
                </a:moveTo>
                <a:cubicBezTo>
                  <a:pt x="5442357" y="1627063"/>
                  <a:pt x="5442357" y="1627063"/>
                  <a:pt x="5732875" y="2313797"/>
                </a:cubicBezTo>
                <a:cubicBezTo>
                  <a:pt x="5732875" y="2313797"/>
                  <a:pt x="5732875" y="2313797"/>
                  <a:pt x="5151840" y="2313797"/>
                </a:cubicBezTo>
                <a:close/>
                <a:moveTo>
                  <a:pt x="2556552" y="1509337"/>
                </a:moveTo>
                <a:cubicBezTo>
                  <a:pt x="2556552" y="1509337"/>
                  <a:pt x="2556552" y="1509337"/>
                  <a:pt x="3002012" y="1509337"/>
                </a:cubicBezTo>
                <a:cubicBezTo>
                  <a:pt x="3215058" y="1509337"/>
                  <a:pt x="3350633" y="1607442"/>
                  <a:pt x="3350633" y="1803652"/>
                </a:cubicBezTo>
                <a:cubicBezTo>
                  <a:pt x="3350633" y="1980241"/>
                  <a:pt x="3234426" y="2117588"/>
                  <a:pt x="3002012" y="2117588"/>
                </a:cubicBezTo>
                <a:cubicBezTo>
                  <a:pt x="3002012" y="2117588"/>
                  <a:pt x="3002012" y="2117588"/>
                  <a:pt x="2556552" y="2117588"/>
                </a:cubicBezTo>
                <a:cubicBezTo>
                  <a:pt x="2556552" y="2117588"/>
                  <a:pt x="2556552" y="2117588"/>
                  <a:pt x="2556552" y="1509337"/>
                </a:cubicBezTo>
                <a:close/>
                <a:moveTo>
                  <a:pt x="10555461" y="1489716"/>
                </a:moveTo>
                <a:cubicBezTo>
                  <a:pt x="10555461" y="1489716"/>
                  <a:pt x="10555461" y="1489716"/>
                  <a:pt x="11000921" y="1489716"/>
                </a:cubicBezTo>
                <a:cubicBezTo>
                  <a:pt x="11194601" y="1489716"/>
                  <a:pt x="11310807" y="1568200"/>
                  <a:pt x="11310807" y="1725168"/>
                </a:cubicBezTo>
                <a:cubicBezTo>
                  <a:pt x="11310807" y="1882136"/>
                  <a:pt x="11175233" y="1940999"/>
                  <a:pt x="10981553" y="1940999"/>
                </a:cubicBezTo>
                <a:cubicBezTo>
                  <a:pt x="10981553" y="1940999"/>
                  <a:pt x="10981553" y="1940999"/>
                  <a:pt x="10555461" y="1940999"/>
                </a:cubicBezTo>
                <a:cubicBezTo>
                  <a:pt x="10555461" y="1940999"/>
                  <a:pt x="10555461" y="1940999"/>
                  <a:pt x="10555461" y="1489716"/>
                </a:cubicBezTo>
                <a:close/>
                <a:moveTo>
                  <a:pt x="10342417" y="1097297"/>
                </a:moveTo>
                <a:cubicBezTo>
                  <a:pt x="10206841" y="1097297"/>
                  <a:pt x="10110001" y="1175781"/>
                  <a:pt x="10110001" y="1332749"/>
                </a:cubicBezTo>
                <a:cubicBezTo>
                  <a:pt x="10110001" y="1332749"/>
                  <a:pt x="10110001" y="1332749"/>
                  <a:pt x="10110001" y="2941669"/>
                </a:cubicBezTo>
                <a:cubicBezTo>
                  <a:pt x="10110001" y="3098637"/>
                  <a:pt x="10206841" y="3177120"/>
                  <a:pt x="10342417" y="3177120"/>
                </a:cubicBezTo>
                <a:cubicBezTo>
                  <a:pt x="10342417" y="3177120"/>
                  <a:pt x="10342417" y="3177120"/>
                  <a:pt x="11097761" y="3177120"/>
                </a:cubicBezTo>
                <a:cubicBezTo>
                  <a:pt x="11562589" y="3177120"/>
                  <a:pt x="11872473" y="3000532"/>
                  <a:pt x="11872473" y="2608112"/>
                </a:cubicBezTo>
                <a:cubicBezTo>
                  <a:pt x="11872473" y="2313797"/>
                  <a:pt x="11717531" y="2176451"/>
                  <a:pt x="11485117" y="2097967"/>
                </a:cubicBezTo>
                <a:cubicBezTo>
                  <a:pt x="11640061" y="1999862"/>
                  <a:pt x="11756267" y="1882136"/>
                  <a:pt x="11756267" y="1627063"/>
                </a:cubicBezTo>
                <a:cubicBezTo>
                  <a:pt x="11756267" y="1489716"/>
                  <a:pt x="11717531" y="1371991"/>
                  <a:pt x="11620693" y="1273886"/>
                </a:cubicBezTo>
                <a:cubicBezTo>
                  <a:pt x="11504485" y="1156160"/>
                  <a:pt x="11310807" y="1097297"/>
                  <a:pt x="11078393" y="1097297"/>
                </a:cubicBezTo>
                <a:close/>
                <a:moveTo>
                  <a:pt x="2324139" y="1097297"/>
                </a:moveTo>
                <a:cubicBezTo>
                  <a:pt x="2188564" y="1097297"/>
                  <a:pt x="2091725" y="1175781"/>
                  <a:pt x="2091725" y="1332749"/>
                </a:cubicBezTo>
                <a:lnTo>
                  <a:pt x="2091725" y="2961290"/>
                </a:lnTo>
                <a:cubicBezTo>
                  <a:pt x="2091725" y="3118258"/>
                  <a:pt x="2188564" y="3196741"/>
                  <a:pt x="2324139" y="3196741"/>
                </a:cubicBezTo>
                <a:cubicBezTo>
                  <a:pt x="2459713" y="3196741"/>
                  <a:pt x="2556552" y="3118258"/>
                  <a:pt x="2556552" y="2961290"/>
                </a:cubicBezTo>
                <a:cubicBezTo>
                  <a:pt x="2556552" y="2961290"/>
                  <a:pt x="2556552" y="2961290"/>
                  <a:pt x="2556552" y="2510007"/>
                </a:cubicBezTo>
                <a:cubicBezTo>
                  <a:pt x="2556552" y="2510007"/>
                  <a:pt x="2556552" y="2510007"/>
                  <a:pt x="2905173" y="2510007"/>
                </a:cubicBezTo>
                <a:cubicBezTo>
                  <a:pt x="2905173" y="2510007"/>
                  <a:pt x="2905173" y="2510007"/>
                  <a:pt x="3350633" y="3079016"/>
                </a:cubicBezTo>
                <a:cubicBezTo>
                  <a:pt x="3408736" y="3157500"/>
                  <a:pt x="3466840" y="3196741"/>
                  <a:pt x="3563679" y="3196741"/>
                </a:cubicBezTo>
                <a:cubicBezTo>
                  <a:pt x="3679886" y="3196741"/>
                  <a:pt x="3796093" y="3098637"/>
                  <a:pt x="3796093" y="2980911"/>
                </a:cubicBezTo>
                <a:cubicBezTo>
                  <a:pt x="3796093" y="2902427"/>
                  <a:pt x="3757357" y="2863185"/>
                  <a:pt x="3718621" y="2804322"/>
                </a:cubicBezTo>
                <a:cubicBezTo>
                  <a:pt x="3718621" y="2804322"/>
                  <a:pt x="3718621" y="2804322"/>
                  <a:pt x="3408736" y="2431523"/>
                </a:cubicBezTo>
                <a:cubicBezTo>
                  <a:pt x="3660518" y="2313797"/>
                  <a:pt x="3815461" y="2117588"/>
                  <a:pt x="3815461" y="1784031"/>
                </a:cubicBezTo>
                <a:cubicBezTo>
                  <a:pt x="3815461" y="1587821"/>
                  <a:pt x="3757357" y="1430854"/>
                  <a:pt x="3641150" y="1313128"/>
                </a:cubicBezTo>
                <a:cubicBezTo>
                  <a:pt x="3505575" y="1175781"/>
                  <a:pt x="3311897" y="1097297"/>
                  <a:pt x="3040748" y="1097297"/>
                </a:cubicBezTo>
                <a:cubicBezTo>
                  <a:pt x="3040748" y="1097297"/>
                  <a:pt x="3040748" y="1097297"/>
                  <a:pt x="2324139" y="1097297"/>
                </a:cubicBezTo>
                <a:close/>
                <a:moveTo>
                  <a:pt x="17799025" y="1077676"/>
                </a:moveTo>
                <a:cubicBezTo>
                  <a:pt x="17682821" y="1077676"/>
                  <a:pt x="17585981" y="1156160"/>
                  <a:pt x="17585981" y="1313128"/>
                </a:cubicBezTo>
                <a:cubicBezTo>
                  <a:pt x="17585981" y="1313128"/>
                  <a:pt x="17585981" y="1313128"/>
                  <a:pt x="17585981" y="2941669"/>
                </a:cubicBezTo>
                <a:cubicBezTo>
                  <a:pt x="17585981" y="3098637"/>
                  <a:pt x="17682821" y="3177120"/>
                  <a:pt x="17799025" y="3177120"/>
                </a:cubicBezTo>
                <a:lnTo>
                  <a:pt x="18883625" y="3177120"/>
                </a:lnTo>
                <a:cubicBezTo>
                  <a:pt x="18999833" y="3177120"/>
                  <a:pt x="19077301" y="3098637"/>
                  <a:pt x="19077301" y="2980911"/>
                </a:cubicBezTo>
                <a:cubicBezTo>
                  <a:pt x="19077301" y="2843564"/>
                  <a:pt x="18999833" y="2765080"/>
                  <a:pt x="18883625" y="2765080"/>
                </a:cubicBezTo>
                <a:cubicBezTo>
                  <a:pt x="18883625" y="2765080"/>
                  <a:pt x="18883625" y="2765080"/>
                  <a:pt x="18031441" y="2765080"/>
                </a:cubicBezTo>
                <a:cubicBezTo>
                  <a:pt x="18031441" y="2765080"/>
                  <a:pt x="18031441" y="2765080"/>
                  <a:pt x="18031441" y="1313128"/>
                </a:cubicBezTo>
                <a:cubicBezTo>
                  <a:pt x="18031441" y="1156160"/>
                  <a:pt x="17934601" y="1077676"/>
                  <a:pt x="17799025" y="1077676"/>
                </a:cubicBezTo>
                <a:close/>
                <a:moveTo>
                  <a:pt x="15707301" y="1077676"/>
                </a:moveTo>
                <a:cubicBezTo>
                  <a:pt x="15571727" y="1077676"/>
                  <a:pt x="15474889" y="1156160"/>
                  <a:pt x="15474889" y="1313128"/>
                </a:cubicBezTo>
                <a:cubicBezTo>
                  <a:pt x="15474889" y="1313128"/>
                  <a:pt x="15474889" y="1313128"/>
                  <a:pt x="15474889" y="2941669"/>
                </a:cubicBezTo>
                <a:cubicBezTo>
                  <a:pt x="15474889" y="3098637"/>
                  <a:pt x="15571727" y="3177120"/>
                  <a:pt x="15707301" y="3177120"/>
                </a:cubicBezTo>
                <a:lnTo>
                  <a:pt x="16772533" y="3177120"/>
                </a:lnTo>
                <a:cubicBezTo>
                  <a:pt x="16888737" y="3177120"/>
                  <a:pt x="16985577" y="3098637"/>
                  <a:pt x="16985577" y="2980911"/>
                </a:cubicBezTo>
                <a:cubicBezTo>
                  <a:pt x="16985577" y="2843564"/>
                  <a:pt x="16888737" y="2765080"/>
                  <a:pt x="16772533" y="2765080"/>
                </a:cubicBezTo>
                <a:cubicBezTo>
                  <a:pt x="16772533" y="2765080"/>
                  <a:pt x="16772533" y="2765080"/>
                  <a:pt x="15939717" y="2765080"/>
                </a:cubicBezTo>
                <a:cubicBezTo>
                  <a:pt x="15939717" y="2765080"/>
                  <a:pt x="15939717" y="2765080"/>
                  <a:pt x="15939717" y="1313128"/>
                </a:cubicBezTo>
                <a:cubicBezTo>
                  <a:pt x="15939717" y="1156160"/>
                  <a:pt x="15842877" y="1077676"/>
                  <a:pt x="15707301" y="1077676"/>
                </a:cubicBezTo>
                <a:close/>
                <a:moveTo>
                  <a:pt x="7417875" y="1077676"/>
                </a:moveTo>
                <a:cubicBezTo>
                  <a:pt x="7301669" y="1077676"/>
                  <a:pt x="7166093" y="1156160"/>
                  <a:pt x="7166093" y="1293507"/>
                </a:cubicBezTo>
                <a:cubicBezTo>
                  <a:pt x="7166093" y="1293507"/>
                  <a:pt x="7166093" y="1293507"/>
                  <a:pt x="7166093" y="2961290"/>
                </a:cubicBezTo>
                <a:cubicBezTo>
                  <a:pt x="7166093" y="3118258"/>
                  <a:pt x="7262933" y="3196741"/>
                  <a:pt x="7398507" y="3196741"/>
                </a:cubicBezTo>
                <a:cubicBezTo>
                  <a:pt x="7514713" y="3196741"/>
                  <a:pt x="7611553" y="3118258"/>
                  <a:pt x="7611553" y="2961290"/>
                </a:cubicBezTo>
                <a:cubicBezTo>
                  <a:pt x="7611553" y="2961290"/>
                  <a:pt x="7611553" y="2961290"/>
                  <a:pt x="7611553" y="1940999"/>
                </a:cubicBezTo>
                <a:cubicBezTo>
                  <a:pt x="7611553" y="1940999"/>
                  <a:pt x="7611553" y="1940999"/>
                  <a:pt x="7998909" y="2549249"/>
                </a:cubicBezTo>
                <a:cubicBezTo>
                  <a:pt x="8057013" y="2627733"/>
                  <a:pt x="8115117" y="2666975"/>
                  <a:pt x="8192589" y="2666975"/>
                </a:cubicBezTo>
                <a:cubicBezTo>
                  <a:pt x="8289427" y="2666975"/>
                  <a:pt x="8347531" y="2627733"/>
                  <a:pt x="8386265" y="2549249"/>
                </a:cubicBezTo>
                <a:cubicBezTo>
                  <a:pt x="8386265" y="2549249"/>
                  <a:pt x="8386265" y="2549249"/>
                  <a:pt x="8773621" y="1921378"/>
                </a:cubicBezTo>
                <a:cubicBezTo>
                  <a:pt x="8773621" y="1921378"/>
                  <a:pt x="8773621" y="1921378"/>
                  <a:pt x="8773621" y="2961290"/>
                </a:cubicBezTo>
                <a:cubicBezTo>
                  <a:pt x="8773621" y="3118258"/>
                  <a:pt x="8870461" y="3196741"/>
                  <a:pt x="9006037" y="3196741"/>
                </a:cubicBezTo>
                <a:cubicBezTo>
                  <a:pt x="9141611" y="3196741"/>
                  <a:pt x="9238449" y="3118258"/>
                  <a:pt x="9238449" y="2961290"/>
                </a:cubicBezTo>
                <a:lnTo>
                  <a:pt x="9238449" y="1293507"/>
                </a:lnTo>
                <a:cubicBezTo>
                  <a:pt x="9238449" y="1156160"/>
                  <a:pt x="9102875" y="1077676"/>
                  <a:pt x="8986669" y="1077676"/>
                </a:cubicBezTo>
                <a:cubicBezTo>
                  <a:pt x="8870461" y="1077676"/>
                  <a:pt x="8792989" y="1116918"/>
                  <a:pt x="8734887" y="1215023"/>
                </a:cubicBezTo>
                <a:cubicBezTo>
                  <a:pt x="8734887" y="1215023"/>
                  <a:pt x="8734887" y="1215023"/>
                  <a:pt x="8211955" y="2097967"/>
                </a:cubicBezTo>
                <a:cubicBezTo>
                  <a:pt x="8211955" y="2097967"/>
                  <a:pt x="8211955" y="2097967"/>
                  <a:pt x="7669657" y="1215023"/>
                </a:cubicBezTo>
                <a:cubicBezTo>
                  <a:pt x="7611553" y="1116918"/>
                  <a:pt x="7534081" y="1077676"/>
                  <a:pt x="7417875" y="1077676"/>
                </a:cubicBezTo>
                <a:close/>
                <a:moveTo>
                  <a:pt x="5461725" y="1058055"/>
                </a:moveTo>
                <a:cubicBezTo>
                  <a:pt x="5306783" y="1058055"/>
                  <a:pt x="5229311" y="1136539"/>
                  <a:pt x="5171208" y="1234644"/>
                </a:cubicBezTo>
                <a:cubicBezTo>
                  <a:pt x="5171208" y="1234644"/>
                  <a:pt x="5171208" y="1234644"/>
                  <a:pt x="4454599" y="2882806"/>
                </a:cubicBezTo>
                <a:cubicBezTo>
                  <a:pt x="4435231" y="2922048"/>
                  <a:pt x="4435231" y="2961290"/>
                  <a:pt x="4435231" y="3000532"/>
                </a:cubicBezTo>
                <a:cubicBezTo>
                  <a:pt x="4435231" y="3118258"/>
                  <a:pt x="4532070" y="3196741"/>
                  <a:pt x="4648277" y="3196741"/>
                </a:cubicBezTo>
                <a:cubicBezTo>
                  <a:pt x="4745116" y="3196741"/>
                  <a:pt x="4803219" y="3157500"/>
                  <a:pt x="4841955" y="3059395"/>
                </a:cubicBezTo>
                <a:cubicBezTo>
                  <a:pt x="4841955" y="3059395"/>
                  <a:pt x="4841955" y="3059395"/>
                  <a:pt x="4996897" y="2706217"/>
                </a:cubicBezTo>
                <a:cubicBezTo>
                  <a:pt x="4996897" y="2706217"/>
                  <a:pt x="4996897" y="2706217"/>
                  <a:pt x="5907185" y="2706217"/>
                </a:cubicBezTo>
                <a:lnTo>
                  <a:pt x="6042760" y="3059395"/>
                </a:lnTo>
                <a:cubicBezTo>
                  <a:pt x="6081495" y="3157500"/>
                  <a:pt x="6158967" y="3196741"/>
                  <a:pt x="6255805" y="3196741"/>
                </a:cubicBezTo>
                <a:cubicBezTo>
                  <a:pt x="6372013" y="3196741"/>
                  <a:pt x="6468853" y="3118258"/>
                  <a:pt x="6468853" y="3000532"/>
                </a:cubicBezTo>
                <a:cubicBezTo>
                  <a:pt x="6468853" y="2961290"/>
                  <a:pt x="6468853" y="2922048"/>
                  <a:pt x="6449485" y="2882806"/>
                </a:cubicBezTo>
                <a:cubicBezTo>
                  <a:pt x="6449485" y="2882806"/>
                  <a:pt x="6449485" y="2882806"/>
                  <a:pt x="5732875" y="1234644"/>
                </a:cubicBezTo>
                <a:cubicBezTo>
                  <a:pt x="5674771" y="1136539"/>
                  <a:pt x="5597300" y="1058055"/>
                  <a:pt x="5461725" y="1058055"/>
                </a:cubicBezTo>
                <a:close/>
                <a:moveTo>
                  <a:pt x="847119" y="0"/>
                </a:moveTo>
                <a:lnTo>
                  <a:pt x="14021983" y="0"/>
                </a:lnTo>
                <a:lnTo>
                  <a:pt x="14021847" y="630"/>
                </a:lnTo>
                <a:cubicBezTo>
                  <a:pt x="14018669" y="15384"/>
                  <a:pt x="13993249" y="133416"/>
                  <a:pt x="13789889" y="1077676"/>
                </a:cubicBezTo>
                <a:cubicBezTo>
                  <a:pt x="13731785" y="1058055"/>
                  <a:pt x="13673681" y="1058055"/>
                  <a:pt x="13615577" y="1058055"/>
                </a:cubicBezTo>
                <a:cubicBezTo>
                  <a:pt x="12976439" y="1058055"/>
                  <a:pt x="12511613" y="1548579"/>
                  <a:pt x="12511613" y="2137209"/>
                </a:cubicBezTo>
                <a:cubicBezTo>
                  <a:pt x="12511613" y="2745459"/>
                  <a:pt x="12957071" y="3216362"/>
                  <a:pt x="13596209" y="3216362"/>
                </a:cubicBezTo>
                <a:cubicBezTo>
                  <a:pt x="14235349" y="3216362"/>
                  <a:pt x="14700175" y="2725838"/>
                  <a:pt x="14700175" y="2137209"/>
                </a:cubicBezTo>
                <a:cubicBezTo>
                  <a:pt x="14700175" y="1960620"/>
                  <a:pt x="14661441" y="1784031"/>
                  <a:pt x="14583969" y="1646684"/>
                </a:cubicBezTo>
                <a:cubicBezTo>
                  <a:pt x="14583969" y="1646684"/>
                  <a:pt x="14583969" y="1646684"/>
                  <a:pt x="14196613" y="1940999"/>
                </a:cubicBezTo>
                <a:cubicBezTo>
                  <a:pt x="14215981" y="1999862"/>
                  <a:pt x="14235349" y="2078346"/>
                  <a:pt x="14235349" y="2137209"/>
                </a:cubicBezTo>
                <a:cubicBezTo>
                  <a:pt x="14235349" y="2510007"/>
                  <a:pt x="13983565" y="2784701"/>
                  <a:pt x="13615577" y="2784701"/>
                </a:cubicBezTo>
                <a:cubicBezTo>
                  <a:pt x="13247589" y="2784701"/>
                  <a:pt x="12976439" y="2490386"/>
                  <a:pt x="12976439" y="2137209"/>
                </a:cubicBezTo>
                <a:cubicBezTo>
                  <a:pt x="12976439" y="1784031"/>
                  <a:pt x="13228221" y="1489716"/>
                  <a:pt x="13596209" y="1489716"/>
                </a:cubicBezTo>
                <a:cubicBezTo>
                  <a:pt x="13634945" y="1489716"/>
                  <a:pt x="13654313" y="1489716"/>
                  <a:pt x="13693049" y="1489716"/>
                </a:cubicBezTo>
                <a:cubicBezTo>
                  <a:pt x="13693049" y="1489716"/>
                  <a:pt x="13693049" y="1489716"/>
                  <a:pt x="13518737" y="2274556"/>
                </a:cubicBezTo>
                <a:cubicBezTo>
                  <a:pt x="13518737" y="2274556"/>
                  <a:pt x="13518737" y="2274556"/>
                  <a:pt x="13576841" y="2313797"/>
                </a:cubicBezTo>
                <a:cubicBezTo>
                  <a:pt x="13576841" y="2313797"/>
                  <a:pt x="13576841" y="2313797"/>
                  <a:pt x="15302449" y="208867"/>
                </a:cubicBezTo>
                <a:lnTo>
                  <a:pt x="15473677" y="0"/>
                </a:lnTo>
                <a:lnTo>
                  <a:pt x="19895817" y="0"/>
                </a:lnTo>
                <a:lnTo>
                  <a:pt x="20086775" y="11552"/>
                </a:lnTo>
                <a:cubicBezTo>
                  <a:pt x="20517065" y="68345"/>
                  <a:pt x="20714017" y="312956"/>
                  <a:pt x="20739957" y="787481"/>
                </a:cubicBezTo>
                <a:lnTo>
                  <a:pt x="20742935" y="901016"/>
                </a:lnTo>
                <a:lnTo>
                  <a:pt x="20742935" y="3471506"/>
                </a:lnTo>
                <a:lnTo>
                  <a:pt x="20739957" y="3585041"/>
                </a:lnTo>
                <a:cubicBezTo>
                  <a:pt x="20710027" y="4132570"/>
                  <a:pt x="20452417" y="4374000"/>
                  <a:pt x="19871385" y="4374000"/>
                </a:cubicBezTo>
                <a:lnTo>
                  <a:pt x="871552" y="4374000"/>
                </a:lnTo>
                <a:cubicBezTo>
                  <a:pt x="251782" y="4374000"/>
                  <a:pt x="0" y="4099306"/>
                  <a:pt x="0" y="3471435"/>
                </a:cubicBezTo>
                <a:cubicBezTo>
                  <a:pt x="0" y="3471435"/>
                  <a:pt x="0" y="3471435"/>
                  <a:pt x="0" y="901087"/>
                </a:cubicBezTo>
                <a:cubicBezTo>
                  <a:pt x="0" y="351700"/>
                  <a:pt x="192771" y="72714"/>
                  <a:pt x="656161" y="11552"/>
                </a:cubicBezTo>
                <a:close/>
              </a:path>
            </a:pathLst>
          </a:custGeom>
          <a:solidFill>
            <a:schemeClr val="bg1"/>
          </a:solidFill>
          <a:ln w="9525">
            <a:noFill/>
            <a:miter lim="800000"/>
            <a:headEnd/>
            <a:tailEnd/>
          </a:ln>
          <a:effectLst/>
        </p:spPr>
        <p:txBody>
          <a:bodyPr wrap="square">
            <a:noAutofit/>
          </a:bodyPr>
          <a:lstStyle>
            <a:lvl1pPr marL="0" indent="0">
              <a:buNone/>
              <a:defRPr sz="100">
                <a:noFill/>
              </a:defRPr>
            </a:lvl1pPr>
            <a:lvl2pPr>
              <a:defRPr>
                <a:noFill/>
              </a:defRPr>
            </a:lvl2pPr>
            <a:lvl3pPr>
              <a:defRPr>
                <a:noFill/>
              </a:defRPr>
            </a:lvl3pPr>
            <a:lvl4pPr>
              <a:defRPr>
                <a:noFill/>
              </a:defRPr>
            </a:lvl4pPr>
            <a:lvl5pPr>
              <a:defRPr>
                <a:noFill/>
              </a:defRPr>
            </a:lvl5pPr>
          </a:lstStyle>
          <a:p>
            <a:pPr lvl="0"/>
            <a:r>
              <a:rPr lang="en-GB"/>
              <a:t>vel</a:t>
            </a:r>
          </a:p>
        </p:txBody>
      </p:sp>
      <p:sp>
        <p:nvSpPr>
          <p:cNvPr id="11" name="Slide Number Placeholder 5" hidden="1">
            <a:extLst>
              <a:ext uri="{FF2B5EF4-FFF2-40B4-BE49-F238E27FC236}">
                <a16:creationId xmlns:a16="http://schemas.microsoft.com/office/drawing/2014/main" id="{F8065A6C-B087-4C37-B9BF-238078D124A4}"/>
              </a:ext>
            </a:extLst>
          </p:cNvPr>
          <p:cNvSpPr>
            <a:spLocks noGrp="1"/>
          </p:cNvSpPr>
          <p:nvPr>
            <p:ph type="sldNum" sz="quarter" idx="4"/>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12" name="Footer Placeholder 4" hidden="1">
            <a:extLst>
              <a:ext uri="{FF2B5EF4-FFF2-40B4-BE49-F238E27FC236}">
                <a16:creationId xmlns:a16="http://schemas.microsoft.com/office/drawing/2014/main" id="{E644527C-AD14-4EB9-ADCA-31C61EBA6546}"/>
              </a:ext>
            </a:extLst>
          </p:cNvPr>
          <p:cNvSpPr>
            <a:spLocks noGrp="1"/>
          </p:cNvSpPr>
          <p:nvPr>
            <p:ph type="ftr" sz="quarter" idx="3"/>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13" name="Date_DateCustomA" hidden="1">
            <a:extLst>
              <a:ext uri="{FF2B5EF4-FFF2-40B4-BE49-F238E27FC236}">
                <a16:creationId xmlns:a16="http://schemas.microsoft.com/office/drawing/2014/main" id="{264006B7-F2E6-4F4A-8D05-3F44F8F318B8}"/>
              </a:ext>
            </a:extLst>
          </p:cNvPr>
          <p:cNvSpPr>
            <a:spLocks noGrp="1"/>
          </p:cNvSpPr>
          <p:nvPr>
            <p:ph type="dt" sz="half" idx="2"/>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ull slide image">
    <p:spTree>
      <p:nvGrpSpPr>
        <p:cNvPr id="1" name=""/>
        <p:cNvGrpSpPr/>
        <p:nvPr/>
      </p:nvGrpSpPr>
      <p:grpSpPr>
        <a:xfrm>
          <a:off x="0" y="0"/>
          <a:ext cx="0" cy="0"/>
          <a:chOff x="0" y="0"/>
          <a:chExt cx="0" cy="0"/>
        </a:xfrm>
      </p:grpSpPr>
      <p:sp>
        <p:nvSpPr>
          <p:cNvPr id="3" name="Background"/>
          <p:cNvSpPr/>
          <p:nvPr userDrawn="1"/>
        </p:nvSpPr>
        <p:spPr>
          <a:xfrm>
            <a:off x="0" y="0"/>
            <a:ext cx="121896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 name="Picture Placeholder 5"/>
          <p:cNvSpPr>
            <a:spLocks noGrp="1"/>
          </p:cNvSpPr>
          <p:nvPr>
            <p:ph type="pic" sz="quarter" idx="10" hasCustomPrompt="1"/>
          </p:nvPr>
        </p:nvSpPr>
        <p:spPr>
          <a:xfrm>
            <a:off x="-1" y="0"/>
            <a:ext cx="12193200" cy="6861600"/>
          </a:xfrm>
          <a:solidFill>
            <a:srgbClr val="F6F6F4"/>
          </a:solidFill>
        </p:spPr>
        <p:txBody>
          <a:bodyPr tIns="0" anchor="t" anchorCtr="0"/>
          <a:lstStyle>
            <a:lvl1pPr marL="0" indent="0" algn="ctr">
              <a:buNone/>
              <a:defRPr baseline="0">
                <a:solidFill>
                  <a:schemeClr val="tx1"/>
                </a:solidFill>
              </a:defRPr>
            </a:lvl1pPr>
          </a:lstStyle>
          <a:p>
            <a:r>
              <a:rPr lang="en-GB" noProof="0"/>
              <a:t>Mark placeholder to insert image</a:t>
            </a:r>
          </a:p>
        </p:txBody>
      </p:sp>
      <p:sp>
        <p:nvSpPr>
          <p:cNvPr id="7" name="Text Placeholder 15">
            <a:extLst>
              <a:ext uri="{FF2B5EF4-FFF2-40B4-BE49-F238E27FC236}">
                <a16:creationId xmlns:a16="http://schemas.microsoft.com/office/drawing/2014/main" id="{D502E4A2-448F-4BE7-8814-15A06BDE1CF9}"/>
              </a:ext>
            </a:extLst>
          </p:cNvPr>
          <p:cNvSpPr>
            <a:spLocks noGrp="1"/>
          </p:cNvSpPr>
          <p:nvPr>
            <p:ph type="body" sz="quarter" idx="12" hasCustomPrompt="1"/>
          </p:nvPr>
        </p:nvSpPr>
        <p:spPr bwMode="auto">
          <a:xfrm>
            <a:off x="798513" y="6159600"/>
            <a:ext cx="1220400" cy="255600"/>
          </a:xfrm>
          <a:custGeom>
            <a:avLst/>
            <a:gdLst>
              <a:gd name="connsiteX0" fmla="*/ 10555461 w 20742935"/>
              <a:gd name="connsiteY0" fmla="*/ 2313797 h 4374000"/>
              <a:gd name="connsiteX1" fmla="*/ 11078393 w 20742935"/>
              <a:gd name="connsiteY1" fmla="*/ 2313797 h 4374000"/>
              <a:gd name="connsiteX2" fmla="*/ 11427013 w 20742935"/>
              <a:gd name="connsiteY2" fmla="*/ 2549249 h 4374000"/>
              <a:gd name="connsiteX3" fmla="*/ 11097761 w 20742935"/>
              <a:gd name="connsiteY3" fmla="*/ 2784701 h 4374000"/>
              <a:gd name="connsiteX4" fmla="*/ 10555461 w 20742935"/>
              <a:gd name="connsiteY4" fmla="*/ 2784701 h 4374000"/>
              <a:gd name="connsiteX5" fmla="*/ 10555461 w 20742935"/>
              <a:gd name="connsiteY5" fmla="*/ 2313797 h 4374000"/>
              <a:gd name="connsiteX6" fmla="*/ 5442357 w 20742935"/>
              <a:gd name="connsiteY6" fmla="*/ 1627063 h 4374000"/>
              <a:gd name="connsiteX7" fmla="*/ 5732875 w 20742935"/>
              <a:gd name="connsiteY7" fmla="*/ 2313797 h 4374000"/>
              <a:gd name="connsiteX8" fmla="*/ 5151840 w 20742935"/>
              <a:gd name="connsiteY8" fmla="*/ 2313797 h 4374000"/>
              <a:gd name="connsiteX9" fmla="*/ 2556552 w 20742935"/>
              <a:gd name="connsiteY9" fmla="*/ 1509337 h 4374000"/>
              <a:gd name="connsiteX10" fmla="*/ 3002012 w 20742935"/>
              <a:gd name="connsiteY10" fmla="*/ 1509337 h 4374000"/>
              <a:gd name="connsiteX11" fmla="*/ 3350633 w 20742935"/>
              <a:gd name="connsiteY11" fmla="*/ 1803652 h 4374000"/>
              <a:gd name="connsiteX12" fmla="*/ 3002012 w 20742935"/>
              <a:gd name="connsiteY12" fmla="*/ 2117588 h 4374000"/>
              <a:gd name="connsiteX13" fmla="*/ 2556552 w 20742935"/>
              <a:gd name="connsiteY13" fmla="*/ 2117588 h 4374000"/>
              <a:gd name="connsiteX14" fmla="*/ 2556552 w 20742935"/>
              <a:gd name="connsiteY14" fmla="*/ 1509337 h 4374000"/>
              <a:gd name="connsiteX15" fmla="*/ 10555461 w 20742935"/>
              <a:gd name="connsiteY15" fmla="*/ 1489716 h 4374000"/>
              <a:gd name="connsiteX16" fmla="*/ 11000921 w 20742935"/>
              <a:gd name="connsiteY16" fmla="*/ 1489716 h 4374000"/>
              <a:gd name="connsiteX17" fmla="*/ 11310807 w 20742935"/>
              <a:gd name="connsiteY17" fmla="*/ 1725168 h 4374000"/>
              <a:gd name="connsiteX18" fmla="*/ 10981553 w 20742935"/>
              <a:gd name="connsiteY18" fmla="*/ 1940999 h 4374000"/>
              <a:gd name="connsiteX19" fmla="*/ 10555461 w 20742935"/>
              <a:gd name="connsiteY19" fmla="*/ 1940999 h 4374000"/>
              <a:gd name="connsiteX20" fmla="*/ 10555461 w 20742935"/>
              <a:gd name="connsiteY20" fmla="*/ 1489716 h 4374000"/>
              <a:gd name="connsiteX21" fmla="*/ 10342417 w 20742935"/>
              <a:gd name="connsiteY21" fmla="*/ 1097297 h 4374000"/>
              <a:gd name="connsiteX22" fmla="*/ 10110001 w 20742935"/>
              <a:gd name="connsiteY22" fmla="*/ 1332749 h 4374000"/>
              <a:gd name="connsiteX23" fmla="*/ 10110001 w 20742935"/>
              <a:gd name="connsiteY23" fmla="*/ 2941669 h 4374000"/>
              <a:gd name="connsiteX24" fmla="*/ 10342417 w 20742935"/>
              <a:gd name="connsiteY24" fmla="*/ 3177120 h 4374000"/>
              <a:gd name="connsiteX25" fmla="*/ 11097761 w 20742935"/>
              <a:gd name="connsiteY25" fmla="*/ 3177120 h 4374000"/>
              <a:gd name="connsiteX26" fmla="*/ 11872473 w 20742935"/>
              <a:gd name="connsiteY26" fmla="*/ 2608112 h 4374000"/>
              <a:gd name="connsiteX27" fmla="*/ 11485117 w 20742935"/>
              <a:gd name="connsiteY27" fmla="*/ 2097967 h 4374000"/>
              <a:gd name="connsiteX28" fmla="*/ 11756267 w 20742935"/>
              <a:gd name="connsiteY28" fmla="*/ 1627063 h 4374000"/>
              <a:gd name="connsiteX29" fmla="*/ 11620693 w 20742935"/>
              <a:gd name="connsiteY29" fmla="*/ 1273886 h 4374000"/>
              <a:gd name="connsiteX30" fmla="*/ 11078393 w 20742935"/>
              <a:gd name="connsiteY30" fmla="*/ 1097297 h 4374000"/>
              <a:gd name="connsiteX31" fmla="*/ 2324139 w 20742935"/>
              <a:gd name="connsiteY31" fmla="*/ 1097297 h 4374000"/>
              <a:gd name="connsiteX32" fmla="*/ 2091725 w 20742935"/>
              <a:gd name="connsiteY32" fmla="*/ 1332749 h 4374000"/>
              <a:gd name="connsiteX33" fmla="*/ 2091725 w 20742935"/>
              <a:gd name="connsiteY33" fmla="*/ 2961290 h 4374000"/>
              <a:gd name="connsiteX34" fmla="*/ 2324139 w 20742935"/>
              <a:gd name="connsiteY34" fmla="*/ 3196741 h 4374000"/>
              <a:gd name="connsiteX35" fmla="*/ 2556552 w 20742935"/>
              <a:gd name="connsiteY35" fmla="*/ 2961290 h 4374000"/>
              <a:gd name="connsiteX36" fmla="*/ 2556552 w 20742935"/>
              <a:gd name="connsiteY36" fmla="*/ 2510007 h 4374000"/>
              <a:gd name="connsiteX37" fmla="*/ 2905173 w 20742935"/>
              <a:gd name="connsiteY37" fmla="*/ 2510007 h 4374000"/>
              <a:gd name="connsiteX38" fmla="*/ 3350633 w 20742935"/>
              <a:gd name="connsiteY38" fmla="*/ 3079016 h 4374000"/>
              <a:gd name="connsiteX39" fmla="*/ 3563679 w 20742935"/>
              <a:gd name="connsiteY39" fmla="*/ 3196741 h 4374000"/>
              <a:gd name="connsiteX40" fmla="*/ 3796093 w 20742935"/>
              <a:gd name="connsiteY40" fmla="*/ 2980911 h 4374000"/>
              <a:gd name="connsiteX41" fmla="*/ 3718621 w 20742935"/>
              <a:gd name="connsiteY41" fmla="*/ 2804322 h 4374000"/>
              <a:gd name="connsiteX42" fmla="*/ 3408736 w 20742935"/>
              <a:gd name="connsiteY42" fmla="*/ 2431523 h 4374000"/>
              <a:gd name="connsiteX43" fmla="*/ 3815461 w 20742935"/>
              <a:gd name="connsiteY43" fmla="*/ 1784031 h 4374000"/>
              <a:gd name="connsiteX44" fmla="*/ 3641150 w 20742935"/>
              <a:gd name="connsiteY44" fmla="*/ 1313128 h 4374000"/>
              <a:gd name="connsiteX45" fmla="*/ 3040748 w 20742935"/>
              <a:gd name="connsiteY45" fmla="*/ 1097297 h 4374000"/>
              <a:gd name="connsiteX46" fmla="*/ 2324139 w 20742935"/>
              <a:gd name="connsiteY46" fmla="*/ 1097297 h 4374000"/>
              <a:gd name="connsiteX47" fmla="*/ 17799025 w 20742935"/>
              <a:gd name="connsiteY47" fmla="*/ 1077676 h 4374000"/>
              <a:gd name="connsiteX48" fmla="*/ 17585981 w 20742935"/>
              <a:gd name="connsiteY48" fmla="*/ 1313128 h 4374000"/>
              <a:gd name="connsiteX49" fmla="*/ 17585981 w 20742935"/>
              <a:gd name="connsiteY49" fmla="*/ 2941669 h 4374000"/>
              <a:gd name="connsiteX50" fmla="*/ 17799025 w 20742935"/>
              <a:gd name="connsiteY50" fmla="*/ 3177120 h 4374000"/>
              <a:gd name="connsiteX51" fmla="*/ 18883625 w 20742935"/>
              <a:gd name="connsiteY51" fmla="*/ 3177120 h 4374000"/>
              <a:gd name="connsiteX52" fmla="*/ 19077301 w 20742935"/>
              <a:gd name="connsiteY52" fmla="*/ 2980911 h 4374000"/>
              <a:gd name="connsiteX53" fmla="*/ 18883625 w 20742935"/>
              <a:gd name="connsiteY53" fmla="*/ 2765080 h 4374000"/>
              <a:gd name="connsiteX54" fmla="*/ 18031441 w 20742935"/>
              <a:gd name="connsiteY54" fmla="*/ 2765080 h 4374000"/>
              <a:gd name="connsiteX55" fmla="*/ 18031441 w 20742935"/>
              <a:gd name="connsiteY55" fmla="*/ 1313128 h 4374000"/>
              <a:gd name="connsiteX56" fmla="*/ 17799025 w 20742935"/>
              <a:gd name="connsiteY56" fmla="*/ 1077676 h 4374000"/>
              <a:gd name="connsiteX57" fmla="*/ 15707301 w 20742935"/>
              <a:gd name="connsiteY57" fmla="*/ 1077676 h 4374000"/>
              <a:gd name="connsiteX58" fmla="*/ 15474889 w 20742935"/>
              <a:gd name="connsiteY58" fmla="*/ 1313128 h 4374000"/>
              <a:gd name="connsiteX59" fmla="*/ 15474889 w 20742935"/>
              <a:gd name="connsiteY59" fmla="*/ 2941669 h 4374000"/>
              <a:gd name="connsiteX60" fmla="*/ 15707301 w 20742935"/>
              <a:gd name="connsiteY60" fmla="*/ 3177120 h 4374000"/>
              <a:gd name="connsiteX61" fmla="*/ 16772533 w 20742935"/>
              <a:gd name="connsiteY61" fmla="*/ 3177120 h 4374000"/>
              <a:gd name="connsiteX62" fmla="*/ 16985577 w 20742935"/>
              <a:gd name="connsiteY62" fmla="*/ 2980911 h 4374000"/>
              <a:gd name="connsiteX63" fmla="*/ 16772533 w 20742935"/>
              <a:gd name="connsiteY63" fmla="*/ 2765080 h 4374000"/>
              <a:gd name="connsiteX64" fmla="*/ 15939717 w 20742935"/>
              <a:gd name="connsiteY64" fmla="*/ 2765080 h 4374000"/>
              <a:gd name="connsiteX65" fmla="*/ 15939717 w 20742935"/>
              <a:gd name="connsiteY65" fmla="*/ 1313128 h 4374000"/>
              <a:gd name="connsiteX66" fmla="*/ 15707301 w 20742935"/>
              <a:gd name="connsiteY66" fmla="*/ 1077676 h 4374000"/>
              <a:gd name="connsiteX67" fmla="*/ 7417875 w 20742935"/>
              <a:gd name="connsiteY67" fmla="*/ 1077676 h 4374000"/>
              <a:gd name="connsiteX68" fmla="*/ 7166093 w 20742935"/>
              <a:gd name="connsiteY68" fmla="*/ 1293507 h 4374000"/>
              <a:gd name="connsiteX69" fmla="*/ 7166093 w 20742935"/>
              <a:gd name="connsiteY69" fmla="*/ 2961290 h 4374000"/>
              <a:gd name="connsiteX70" fmla="*/ 7398507 w 20742935"/>
              <a:gd name="connsiteY70" fmla="*/ 3196741 h 4374000"/>
              <a:gd name="connsiteX71" fmla="*/ 7611553 w 20742935"/>
              <a:gd name="connsiteY71" fmla="*/ 2961290 h 4374000"/>
              <a:gd name="connsiteX72" fmla="*/ 7611553 w 20742935"/>
              <a:gd name="connsiteY72" fmla="*/ 1940999 h 4374000"/>
              <a:gd name="connsiteX73" fmla="*/ 7998909 w 20742935"/>
              <a:gd name="connsiteY73" fmla="*/ 2549249 h 4374000"/>
              <a:gd name="connsiteX74" fmla="*/ 8192589 w 20742935"/>
              <a:gd name="connsiteY74" fmla="*/ 2666975 h 4374000"/>
              <a:gd name="connsiteX75" fmla="*/ 8386265 w 20742935"/>
              <a:gd name="connsiteY75" fmla="*/ 2549249 h 4374000"/>
              <a:gd name="connsiteX76" fmla="*/ 8773621 w 20742935"/>
              <a:gd name="connsiteY76" fmla="*/ 1921378 h 4374000"/>
              <a:gd name="connsiteX77" fmla="*/ 8773621 w 20742935"/>
              <a:gd name="connsiteY77" fmla="*/ 2961290 h 4374000"/>
              <a:gd name="connsiteX78" fmla="*/ 9006037 w 20742935"/>
              <a:gd name="connsiteY78" fmla="*/ 3196741 h 4374000"/>
              <a:gd name="connsiteX79" fmla="*/ 9238449 w 20742935"/>
              <a:gd name="connsiteY79" fmla="*/ 2961290 h 4374000"/>
              <a:gd name="connsiteX80" fmla="*/ 9238449 w 20742935"/>
              <a:gd name="connsiteY80" fmla="*/ 1293507 h 4374000"/>
              <a:gd name="connsiteX81" fmla="*/ 8986669 w 20742935"/>
              <a:gd name="connsiteY81" fmla="*/ 1077676 h 4374000"/>
              <a:gd name="connsiteX82" fmla="*/ 8734887 w 20742935"/>
              <a:gd name="connsiteY82" fmla="*/ 1215023 h 4374000"/>
              <a:gd name="connsiteX83" fmla="*/ 8211955 w 20742935"/>
              <a:gd name="connsiteY83" fmla="*/ 2097967 h 4374000"/>
              <a:gd name="connsiteX84" fmla="*/ 7669657 w 20742935"/>
              <a:gd name="connsiteY84" fmla="*/ 1215023 h 4374000"/>
              <a:gd name="connsiteX85" fmla="*/ 7417875 w 20742935"/>
              <a:gd name="connsiteY85" fmla="*/ 1077676 h 4374000"/>
              <a:gd name="connsiteX86" fmla="*/ 5461725 w 20742935"/>
              <a:gd name="connsiteY86" fmla="*/ 1058055 h 4374000"/>
              <a:gd name="connsiteX87" fmla="*/ 5171208 w 20742935"/>
              <a:gd name="connsiteY87" fmla="*/ 1234644 h 4374000"/>
              <a:gd name="connsiteX88" fmla="*/ 4454599 w 20742935"/>
              <a:gd name="connsiteY88" fmla="*/ 2882806 h 4374000"/>
              <a:gd name="connsiteX89" fmla="*/ 4435231 w 20742935"/>
              <a:gd name="connsiteY89" fmla="*/ 3000532 h 4374000"/>
              <a:gd name="connsiteX90" fmla="*/ 4648277 w 20742935"/>
              <a:gd name="connsiteY90" fmla="*/ 3196741 h 4374000"/>
              <a:gd name="connsiteX91" fmla="*/ 4841955 w 20742935"/>
              <a:gd name="connsiteY91" fmla="*/ 3059395 h 4374000"/>
              <a:gd name="connsiteX92" fmla="*/ 4996897 w 20742935"/>
              <a:gd name="connsiteY92" fmla="*/ 2706217 h 4374000"/>
              <a:gd name="connsiteX93" fmla="*/ 5907185 w 20742935"/>
              <a:gd name="connsiteY93" fmla="*/ 2706217 h 4374000"/>
              <a:gd name="connsiteX94" fmla="*/ 6042760 w 20742935"/>
              <a:gd name="connsiteY94" fmla="*/ 3059395 h 4374000"/>
              <a:gd name="connsiteX95" fmla="*/ 6255805 w 20742935"/>
              <a:gd name="connsiteY95" fmla="*/ 3196741 h 4374000"/>
              <a:gd name="connsiteX96" fmla="*/ 6468853 w 20742935"/>
              <a:gd name="connsiteY96" fmla="*/ 3000532 h 4374000"/>
              <a:gd name="connsiteX97" fmla="*/ 6449485 w 20742935"/>
              <a:gd name="connsiteY97" fmla="*/ 2882806 h 4374000"/>
              <a:gd name="connsiteX98" fmla="*/ 5732875 w 20742935"/>
              <a:gd name="connsiteY98" fmla="*/ 1234644 h 4374000"/>
              <a:gd name="connsiteX99" fmla="*/ 5461725 w 20742935"/>
              <a:gd name="connsiteY99" fmla="*/ 1058055 h 4374000"/>
              <a:gd name="connsiteX100" fmla="*/ 847119 w 20742935"/>
              <a:gd name="connsiteY100" fmla="*/ 0 h 4374000"/>
              <a:gd name="connsiteX101" fmla="*/ 14021983 w 20742935"/>
              <a:gd name="connsiteY101" fmla="*/ 0 h 4374000"/>
              <a:gd name="connsiteX102" fmla="*/ 14021847 w 20742935"/>
              <a:gd name="connsiteY102" fmla="*/ 630 h 4374000"/>
              <a:gd name="connsiteX103" fmla="*/ 13789889 w 20742935"/>
              <a:gd name="connsiteY103" fmla="*/ 1077676 h 4374000"/>
              <a:gd name="connsiteX104" fmla="*/ 13615577 w 20742935"/>
              <a:gd name="connsiteY104" fmla="*/ 1058055 h 4374000"/>
              <a:gd name="connsiteX105" fmla="*/ 12511613 w 20742935"/>
              <a:gd name="connsiteY105" fmla="*/ 2137209 h 4374000"/>
              <a:gd name="connsiteX106" fmla="*/ 13596209 w 20742935"/>
              <a:gd name="connsiteY106" fmla="*/ 3216362 h 4374000"/>
              <a:gd name="connsiteX107" fmla="*/ 14700175 w 20742935"/>
              <a:gd name="connsiteY107" fmla="*/ 2137209 h 4374000"/>
              <a:gd name="connsiteX108" fmla="*/ 14583969 w 20742935"/>
              <a:gd name="connsiteY108" fmla="*/ 1646684 h 4374000"/>
              <a:gd name="connsiteX109" fmla="*/ 14196613 w 20742935"/>
              <a:gd name="connsiteY109" fmla="*/ 1940999 h 4374000"/>
              <a:gd name="connsiteX110" fmla="*/ 14235349 w 20742935"/>
              <a:gd name="connsiteY110" fmla="*/ 2137209 h 4374000"/>
              <a:gd name="connsiteX111" fmla="*/ 13615577 w 20742935"/>
              <a:gd name="connsiteY111" fmla="*/ 2784701 h 4374000"/>
              <a:gd name="connsiteX112" fmla="*/ 12976439 w 20742935"/>
              <a:gd name="connsiteY112" fmla="*/ 2137209 h 4374000"/>
              <a:gd name="connsiteX113" fmla="*/ 13596209 w 20742935"/>
              <a:gd name="connsiteY113" fmla="*/ 1489716 h 4374000"/>
              <a:gd name="connsiteX114" fmla="*/ 13693049 w 20742935"/>
              <a:gd name="connsiteY114" fmla="*/ 1489716 h 4374000"/>
              <a:gd name="connsiteX115" fmla="*/ 13518737 w 20742935"/>
              <a:gd name="connsiteY115" fmla="*/ 2274556 h 4374000"/>
              <a:gd name="connsiteX116" fmla="*/ 13576841 w 20742935"/>
              <a:gd name="connsiteY116" fmla="*/ 2313797 h 4374000"/>
              <a:gd name="connsiteX117" fmla="*/ 15302449 w 20742935"/>
              <a:gd name="connsiteY117" fmla="*/ 208867 h 4374000"/>
              <a:gd name="connsiteX118" fmla="*/ 15473677 w 20742935"/>
              <a:gd name="connsiteY118" fmla="*/ 0 h 4374000"/>
              <a:gd name="connsiteX119" fmla="*/ 19895817 w 20742935"/>
              <a:gd name="connsiteY119" fmla="*/ 0 h 4374000"/>
              <a:gd name="connsiteX120" fmla="*/ 20086775 w 20742935"/>
              <a:gd name="connsiteY120" fmla="*/ 11552 h 4374000"/>
              <a:gd name="connsiteX121" fmla="*/ 20739957 w 20742935"/>
              <a:gd name="connsiteY121" fmla="*/ 787481 h 4374000"/>
              <a:gd name="connsiteX122" fmla="*/ 20742935 w 20742935"/>
              <a:gd name="connsiteY122" fmla="*/ 901016 h 4374000"/>
              <a:gd name="connsiteX123" fmla="*/ 20742935 w 20742935"/>
              <a:gd name="connsiteY123" fmla="*/ 3471506 h 4374000"/>
              <a:gd name="connsiteX124" fmla="*/ 20739957 w 20742935"/>
              <a:gd name="connsiteY124" fmla="*/ 3585041 h 4374000"/>
              <a:gd name="connsiteX125" fmla="*/ 19871385 w 20742935"/>
              <a:gd name="connsiteY125" fmla="*/ 4374000 h 4374000"/>
              <a:gd name="connsiteX126" fmla="*/ 871552 w 20742935"/>
              <a:gd name="connsiteY126" fmla="*/ 4374000 h 4374000"/>
              <a:gd name="connsiteX127" fmla="*/ 0 w 20742935"/>
              <a:gd name="connsiteY127" fmla="*/ 3471435 h 4374000"/>
              <a:gd name="connsiteX128" fmla="*/ 0 w 20742935"/>
              <a:gd name="connsiteY128" fmla="*/ 901087 h 4374000"/>
              <a:gd name="connsiteX129" fmla="*/ 656161 w 20742935"/>
              <a:gd name="connsiteY129" fmla="*/ 11552 h 43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0742935" h="4374000">
                <a:moveTo>
                  <a:pt x="10555461" y="2313797"/>
                </a:moveTo>
                <a:cubicBezTo>
                  <a:pt x="10555461" y="2313797"/>
                  <a:pt x="10555461" y="2313797"/>
                  <a:pt x="11078393" y="2313797"/>
                </a:cubicBezTo>
                <a:cubicBezTo>
                  <a:pt x="11310807" y="2313797"/>
                  <a:pt x="11427013" y="2411902"/>
                  <a:pt x="11427013" y="2549249"/>
                </a:cubicBezTo>
                <a:cubicBezTo>
                  <a:pt x="11427013" y="2706217"/>
                  <a:pt x="11291439" y="2784701"/>
                  <a:pt x="11097761" y="2784701"/>
                </a:cubicBezTo>
                <a:cubicBezTo>
                  <a:pt x="11097761" y="2784701"/>
                  <a:pt x="11097761" y="2784701"/>
                  <a:pt x="10555461" y="2784701"/>
                </a:cubicBezTo>
                <a:cubicBezTo>
                  <a:pt x="10555461" y="2784701"/>
                  <a:pt x="10555461" y="2784701"/>
                  <a:pt x="10555461" y="2313797"/>
                </a:cubicBezTo>
                <a:close/>
                <a:moveTo>
                  <a:pt x="5442357" y="1627063"/>
                </a:moveTo>
                <a:cubicBezTo>
                  <a:pt x="5442357" y="1627063"/>
                  <a:pt x="5442357" y="1627063"/>
                  <a:pt x="5732875" y="2313797"/>
                </a:cubicBezTo>
                <a:cubicBezTo>
                  <a:pt x="5732875" y="2313797"/>
                  <a:pt x="5732875" y="2313797"/>
                  <a:pt x="5151840" y="2313797"/>
                </a:cubicBezTo>
                <a:close/>
                <a:moveTo>
                  <a:pt x="2556552" y="1509337"/>
                </a:moveTo>
                <a:cubicBezTo>
                  <a:pt x="2556552" y="1509337"/>
                  <a:pt x="2556552" y="1509337"/>
                  <a:pt x="3002012" y="1509337"/>
                </a:cubicBezTo>
                <a:cubicBezTo>
                  <a:pt x="3215058" y="1509337"/>
                  <a:pt x="3350633" y="1607442"/>
                  <a:pt x="3350633" y="1803652"/>
                </a:cubicBezTo>
                <a:cubicBezTo>
                  <a:pt x="3350633" y="1980241"/>
                  <a:pt x="3234426" y="2117588"/>
                  <a:pt x="3002012" y="2117588"/>
                </a:cubicBezTo>
                <a:cubicBezTo>
                  <a:pt x="3002012" y="2117588"/>
                  <a:pt x="3002012" y="2117588"/>
                  <a:pt x="2556552" y="2117588"/>
                </a:cubicBezTo>
                <a:cubicBezTo>
                  <a:pt x="2556552" y="2117588"/>
                  <a:pt x="2556552" y="2117588"/>
                  <a:pt x="2556552" y="1509337"/>
                </a:cubicBezTo>
                <a:close/>
                <a:moveTo>
                  <a:pt x="10555461" y="1489716"/>
                </a:moveTo>
                <a:cubicBezTo>
                  <a:pt x="10555461" y="1489716"/>
                  <a:pt x="10555461" y="1489716"/>
                  <a:pt x="11000921" y="1489716"/>
                </a:cubicBezTo>
                <a:cubicBezTo>
                  <a:pt x="11194601" y="1489716"/>
                  <a:pt x="11310807" y="1568200"/>
                  <a:pt x="11310807" y="1725168"/>
                </a:cubicBezTo>
                <a:cubicBezTo>
                  <a:pt x="11310807" y="1882136"/>
                  <a:pt x="11175233" y="1940999"/>
                  <a:pt x="10981553" y="1940999"/>
                </a:cubicBezTo>
                <a:cubicBezTo>
                  <a:pt x="10981553" y="1940999"/>
                  <a:pt x="10981553" y="1940999"/>
                  <a:pt x="10555461" y="1940999"/>
                </a:cubicBezTo>
                <a:cubicBezTo>
                  <a:pt x="10555461" y="1940999"/>
                  <a:pt x="10555461" y="1940999"/>
                  <a:pt x="10555461" y="1489716"/>
                </a:cubicBezTo>
                <a:close/>
                <a:moveTo>
                  <a:pt x="10342417" y="1097297"/>
                </a:moveTo>
                <a:cubicBezTo>
                  <a:pt x="10206841" y="1097297"/>
                  <a:pt x="10110001" y="1175781"/>
                  <a:pt x="10110001" y="1332749"/>
                </a:cubicBezTo>
                <a:cubicBezTo>
                  <a:pt x="10110001" y="1332749"/>
                  <a:pt x="10110001" y="1332749"/>
                  <a:pt x="10110001" y="2941669"/>
                </a:cubicBezTo>
                <a:cubicBezTo>
                  <a:pt x="10110001" y="3098637"/>
                  <a:pt x="10206841" y="3177120"/>
                  <a:pt x="10342417" y="3177120"/>
                </a:cubicBezTo>
                <a:cubicBezTo>
                  <a:pt x="10342417" y="3177120"/>
                  <a:pt x="10342417" y="3177120"/>
                  <a:pt x="11097761" y="3177120"/>
                </a:cubicBezTo>
                <a:cubicBezTo>
                  <a:pt x="11562589" y="3177120"/>
                  <a:pt x="11872473" y="3000532"/>
                  <a:pt x="11872473" y="2608112"/>
                </a:cubicBezTo>
                <a:cubicBezTo>
                  <a:pt x="11872473" y="2313797"/>
                  <a:pt x="11717531" y="2176451"/>
                  <a:pt x="11485117" y="2097967"/>
                </a:cubicBezTo>
                <a:cubicBezTo>
                  <a:pt x="11640061" y="1999862"/>
                  <a:pt x="11756267" y="1882136"/>
                  <a:pt x="11756267" y="1627063"/>
                </a:cubicBezTo>
                <a:cubicBezTo>
                  <a:pt x="11756267" y="1489716"/>
                  <a:pt x="11717531" y="1371991"/>
                  <a:pt x="11620693" y="1273886"/>
                </a:cubicBezTo>
                <a:cubicBezTo>
                  <a:pt x="11504485" y="1156160"/>
                  <a:pt x="11310807" y="1097297"/>
                  <a:pt x="11078393" y="1097297"/>
                </a:cubicBezTo>
                <a:close/>
                <a:moveTo>
                  <a:pt x="2324139" y="1097297"/>
                </a:moveTo>
                <a:cubicBezTo>
                  <a:pt x="2188564" y="1097297"/>
                  <a:pt x="2091725" y="1175781"/>
                  <a:pt x="2091725" y="1332749"/>
                </a:cubicBezTo>
                <a:lnTo>
                  <a:pt x="2091725" y="2961290"/>
                </a:lnTo>
                <a:cubicBezTo>
                  <a:pt x="2091725" y="3118258"/>
                  <a:pt x="2188564" y="3196741"/>
                  <a:pt x="2324139" y="3196741"/>
                </a:cubicBezTo>
                <a:cubicBezTo>
                  <a:pt x="2459713" y="3196741"/>
                  <a:pt x="2556552" y="3118258"/>
                  <a:pt x="2556552" y="2961290"/>
                </a:cubicBezTo>
                <a:cubicBezTo>
                  <a:pt x="2556552" y="2961290"/>
                  <a:pt x="2556552" y="2961290"/>
                  <a:pt x="2556552" y="2510007"/>
                </a:cubicBezTo>
                <a:cubicBezTo>
                  <a:pt x="2556552" y="2510007"/>
                  <a:pt x="2556552" y="2510007"/>
                  <a:pt x="2905173" y="2510007"/>
                </a:cubicBezTo>
                <a:cubicBezTo>
                  <a:pt x="2905173" y="2510007"/>
                  <a:pt x="2905173" y="2510007"/>
                  <a:pt x="3350633" y="3079016"/>
                </a:cubicBezTo>
                <a:cubicBezTo>
                  <a:pt x="3408736" y="3157500"/>
                  <a:pt x="3466840" y="3196741"/>
                  <a:pt x="3563679" y="3196741"/>
                </a:cubicBezTo>
                <a:cubicBezTo>
                  <a:pt x="3679886" y="3196741"/>
                  <a:pt x="3796093" y="3098637"/>
                  <a:pt x="3796093" y="2980911"/>
                </a:cubicBezTo>
                <a:cubicBezTo>
                  <a:pt x="3796093" y="2902427"/>
                  <a:pt x="3757357" y="2863185"/>
                  <a:pt x="3718621" y="2804322"/>
                </a:cubicBezTo>
                <a:cubicBezTo>
                  <a:pt x="3718621" y="2804322"/>
                  <a:pt x="3718621" y="2804322"/>
                  <a:pt x="3408736" y="2431523"/>
                </a:cubicBezTo>
                <a:cubicBezTo>
                  <a:pt x="3660518" y="2313797"/>
                  <a:pt x="3815461" y="2117588"/>
                  <a:pt x="3815461" y="1784031"/>
                </a:cubicBezTo>
                <a:cubicBezTo>
                  <a:pt x="3815461" y="1587821"/>
                  <a:pt x="3757357" y="1430854"/>
                  <a:pt x="3641150" y="1313128"/>
                </a:cubicBezTo>
                <a:cubicBezTo>
                  <a:pt x="3505575" y="1175781"/>
                  <a:pt x="3311897" y="1097297"/>
                  <a:pt x="3040748" y="1097297"/>
                </a:cubicBezTo>
                <a:cubicBezTo>
                  <a:pt x="3040748" y="1097297"/>
                  <a:pt x="3040748" y="1097297"/>
                  <a:pt x="2324139" y="1097297"/>
                </a:cubicBezTo>
                <a:close/>
                <a:moveTo>
                  <a:pt x="17799025" y="1077676"/>
                </a:moveTo>
                <a:cubicBezTo>
                  <a:pt x="17682821" y="1077676"/>
                  <a:pt x="17585981" y="1156160"/>
                  <a:pt x="17585981" y="1313128"/>
                </a:cubicBezTo>
                <a:cubicBezTo>
                  <a:pt x="17585981" y="1313128"/>
                  <a:pt x="17585981" y="1313128"/>
                  <a:pt x="17585981" y="2941669"/>
                </a:cubicBezTo>
                <a:cubicBezTo>
                  <a:pt x="17585981" y="3098637"/>
                  <a:pt x="17682821" y="3177120"/>
                  <a:pt x="17799025" y="3177120"/>
                </a:cubicBezTo>
                <a:lnTo>
                  <a:pt x="18883625" y="3177120"/>
                </a:lnTo>
                <a:cubicBezTo>
                  <a:pt x="18999833" y="3177120"/>
                  <a:pt x="19077301" y="3098637"/>
                  <a:pt x="19077301" y="2980911"/>
                </a:cubicBezTo>
                <a:cubicBezTo>
                  <a:pt x="19077301" y="2843564"/>
                  <a:pt x="18999833" y="2765080"/>
                  <a:pt x="18883625" y="2765080"/>
                </a:cubicBezTo>
                <a:cubicBezTo>
                  <a:pt x="18883625" y="2765080"/>
                  <a:pt x="18883625" y="2765080"/>
                  <a:pt x="18031441" y="2765080"/>
                </a:cubicBezTo>
                <a:cubicBezTo>
                  <a:pt x="18031441" y="2765080"/>
                  <a:pt x="18031441" y="2765080"/>
                  <a:pt x="18031441" y="1313128"/>
                </a:cubicBezTo>
                <a:cubicBezTo>
                  <a:pt x="18031441" y="1156160"/>
                  <a:pt x="17934601" y="1077676"/>
                  <a:pt x="17799025" y="1077676"/>
                </a:cubicBezTo>
                <a:close/>
                <a:moveTo>
                  <a:pt x="15707301" y="1077676"/>
                </a:moveTo>
                <a:cubicBezTo>
                  <a:pt x="15571727" y="1077676"/>
                  <a:pt x="15474889" y="1156160"/>
                  <a:pt x="15474889" y="1313128"/>
                </a:cubicBezTo>
                <a:cubicBezTo>
                  <a:pt x="15474889" y="1313128"/>
                  <a:pt x="15474889" y="1313128"/>
                  <a:pt x="15474889" y="2941669"/>
                </a:cubicBezTo>
                <a:cubicBezTo>
                  <a:pt x="15474889" y="3098637"/>
                  <a:pt x="15571727" y="3177120"/>
                  <a:pt x="15707301" y="3177120"/>
                </a:cubicBezTo>
                <a:lnTo>
                  <a:pt x="16772533" y="3177120"/>
                </a:lnTo>
                <a:cubicBezTo>
                  <a:pt x="16888737" y="3177120"/>
                  <a:pt x="16985577" y="3098637"/>
                  <a:pt x="16985577" y="2980911"/>
                </a:cubicBezTo>
                <a:cubicBezTo>
                  <a:pt x="16985577" y="2843564"/>
                  <a:pt x="16888737" y="2765080"/>
                  <a:pt x="16772533" y="2765080"/>
                </a:cubicBezTo>
                <a:cubicBezTo>
                  <a:pt x="16772533" y="2765080"/>
                  <a:pt x="16772533" y="2765080"/>
                  <a:pt x="15939717" y="2765080"/>
                </a:cubicBezTo>
                <a:cubicBezTo>
                  <a:pt x="15939717" y="2765080"/>
                  <a:pt x="15939717" y="2765080"/>
                  <a:pt x="15939717" y="1313128"/>
                </a:cubicBezTo>
                <a:cubicBezTo>
                  <a:pt x="15939717" y="1156160"/>
                  <a:pt x="15842877" y="1077676"/>
                  <a:pt x="15707301" y="1077676"/>
                </a:cubicBezTo>
                <a:close/>
                <a:moveTo>
                  <a:pt x="7417875" y="1077676"/>
                </a:moveTo>
                <a:cubicBezTo>
                  <a:pt x="7301669" y="1077676"/>
                  <a:pt x="7166093" y="1156160"/>
                  <a:pt x="7166093" y="1293507"/>
                </a:cubicBezTo>
                <a:cubicBezTo>
                  <a:pt x="7166093" y="1293507"/>
                  <a:pt x="7166093" y="1293507"/>
                  <a:pt x="7166093" y="2961290"/>
                </a:cubicBezTo>
                <a:cubicBezTo>
                  <a:pt x="7166093" y="3118258"/>
                  <a:pt x="7262933" y="3196741"/>
                  <a:pt x="7398507" y="3196741"/>
                </a:cubicBezTo>
                <a:cubicBezTo>
                  <a:pt x="7514713" y="3196741"/>
                  <a:pt x="7611553" y="3118258"/>
                  <a:pt x="7611553" y="2961290"/>
                </a:cubicBezTo>
                <a:cubicBezTo>
                  <a:pt x="7611553" y="2961290"/>
                  <a:pt x="7611553" y="2961290"/>
                  <a:pt x="7611553" y="1940999"/>
                </a:cubicBezTo>
                <a:cubicBezTo>
                  <a:pt x="7611553" y="1940999"/>
                  <a:pt x="7611553" y="1940999"/>
                  <a:pt x="7998909" y="2549249"/>
                </a:cubicBezTo>
                <a:cubicBezTo>
                  <a:pt x="8057013" y="2627733"/>
                  <a:pt x="8115117" y="2666975"/>
                  <a:pt x="8192589" y="2666975"/>
                </a:cubicBezTo>
                <a:cubicBezTo>
                  <a:pt x="8289427" y="2666975"/>
                  <a:pt x="8347531" y="2627733"/>
                  <a:pt x="8386265" y="2549249"/>
                </a:cubicBezTo>
                <a:cubicBezTo>
                  <a:pt x="8386265" y="2549249"/>
                  <a:pt x="8386265" y="2549249"/>
                  <a:pt x="8773621" y="1921378"/>
                </a:cubicBezTo>
                <a:cubicBezTo>
                  <a:pt x="8773621" y="1921378"/>
                  <a:pt x="8773621" y="1921378"/>
                  <a:pt x="8773621" y="2961290"/>
                </a:cubicBezTo>
                <a:cubicBezTo>
                  <a:pt x="8773621" y="3118258"/>
                  <a:pt x="8870461" y="3196741"/>
                  <a:pt x="9006037" y="3196741"/>
                </a:cubicBezTo>
                <a:cubicBezTo>
                  <a:pt x="9141611" y="3196741"/>
                  <a:pt x="9238449" y="3118258"/>
                  <a:pt x="9238449" y="2961290"/>
                </a:cubicBezTo>
                <a:lnTo>
                  <a:pt x="9238449" y="1293507"/>
                </a:lnTo>
                <a:cubicBezTo>
                  <a:pt x="9238449" y="1156160"/>
                  <a:pt x="9102875" y="1077676"/>
                  <a:pt x="8986669" y="1077676"/>
                </a:cubicBezTo>
                <a:cubicBezTo>
                  <a:pt x="8870461" y="1077676"/>
                  <a:pt x="8792989" y="1116918"/>
                  <a:pt x="8734887" y="1215023"/>
                </a:cubicBezTo>
                <a:cubicBezTo>
                  <a:pt x="8734887" y="1215023"/>
                  <a:pt x="8734887" y="1215023"/>
                  <a:pt x="8211955" y="2097967"/>
                </a:cubicBezTo>
                <a:cubicBezTo>
                  <a:pt x="8211955" y="2097967"/>
                  <a:pt x="8211955" y="2097967"/>
                  <a:pt x="7669657" y="1215023"/>
                </a:cubicBezTo>
                <a:cubicBezTo>
                  <a:pt x="7611553" y="1116918"/>
                  <a:pt x="7534081" y="1077676"/>
                  <a:pt x="7417875" y="1077676"/>
                </a:cubicBezTo>
                <a:close/>
                <a:moveTo>
                  <a:pt x="5461725" y="1058055"/>
                </a:moveTo>
                <a:cubicBezTo>
                  <a:pt x="5306783" y="1058055"/>
                  <a:pt x="5229311" y="1136539"/>
                  <a:pt x="5171208" y="1234644"/>
                </a:cubicBezTo>
                <a:cubicBezTo>
                  <a:pt x="5171208" y="1234644"/>
                  <a:pt x="5171208" y="1234644"/>
                  <a:pt x="4454599" y="2882806"/>
                </a:cubicBezTo>
                <a:cubicBezTo>
                  <a:pt x="4435231" y="2922048"/>
                  <a:pt x="4435231" y="2961290"/>
                  <a:pt x="4435231" y="3000532"/>
                </a:cubicBezTo>
                <a:cubicBezTo>
                  <a:pt x="4435231" y="3118258"/>
                  <a:pt x="4532070" y="3196741"/>
                  <a:pt x="4648277" y="3196741"/>
                </a:cubicBezTo>
                <a:cubicBezTo>
                  <a:pt x="4745116" y="3196741"/>
                  <a:pt x="4803219" y="3157500"/>
                  <a:pt x="4841955" y="3059395"/>
                </a:cubicBezTo>
                <a:cubicBezTo>
                  <a:pt x="4841955" y="3059395"/>
                  <a:pt x="4841955" y="3059395"/>
                  <a:pt x="4996897" y="2706217"/>
                </a:cubicBezTo>
                <a:cubicBezTo>
                  <a:pt x="4996897" y="2706217"/>
                  <a:pt x="4996897" y="2706217"/>
                  <a:pt x="5907185" y="2706217"/>
                </a:cubicBezTo>
                <a:lnTo>
                  <a:pt x="6042760" y="3059395"/>
                </a:lnTo>
                <a:cubicBezTo>
                  <a:pt x="6081495" y="3157500"/>
                  <a:pt x="6158967" y="3196741"/>
                  <a:pt x="6255805" y="3196741"/>
                </a:cubicBezTo>
                <a:cubicBezTo>
                  <a:pt x="6372013" y="3196741"/>
                  <a:pt x="6468853" y="3118258"/>
                  <a:pt x="6468853" y="3000532"/>
                </a:cubicBezTo>
                <a:cubicBezTo>
                  <a:pt x="6468853" y="2961290"/>
                  <a:pt x="6468853" y="2922048"/>
                  <a:pt x="6449485" y="2882806"/>
                </a:cubicBezTo>
                <a:cubicBezTo>
                  <a:pt x="6449485" y="2882806"/>
                  <a:pt x="6449485" y="2882806"/>
                  <a:pt x="5732875" y="1234644"/>
                </a:cubicBezTo>
                <a:cubicBezTo>
                  <a:pt x="5674771" y="1136539"/>
                  <a:pt x="5597300" y="1058055"/>
                  <a:pt x="5461725" y="1058055"/>
                </a:cubicBezTo>
                <a:close/>
                <a:moveTo>
                  <a:pt x="847119" y="0"/>
                </a:moveTo>
                <a:lnTo>
                  <a:pt x="14021983" y="0"/>
                </a:lnTo>
                <a:lnTo>
                  <a:pt x="14021847" y="630"/>
                </a:lnTo>
                <a:cubicBezTo>
                  <a:pt x="14018669" y="15384"/>
                  <a:pt x="13993249" y="133416"/>
                  <a:pt x="13789889" y="1077676"/>
                </a:cubicBezTo>
                <a:cubicBezTo>
                  <a:pt x="13731785" y="1058055"/>
                  <a:pt x="13673681" y="1058055"/>
                  <a:pt x="13615577" y="1058055"/>
                </a:cubicBezTo>
                <a:cubicBezTo>
                  <a:pt x="12976439" y="1058055"/>
                  <a:pt x="12511613" y="1548579"/>
                  <a:pt x="12511613" y="2137209"/>
                </a:cubicBezTo>
                <a:cubicBezTo>
                  <a:pt x="12511613" y="2745459"/>
                  <a:pt x="12957071" y="3216362"/>
                  <a:pt x="13596209" y="3216362"/>
                </a:cubicBezTo>
                <a:cubicBezTo>
                  <a:pt x="14235349" y="3216362"/>
                  <a:pt x="14700175" y="2725838"/>
                  <a:pt x="14700175" y="2137209"/>
                </a:cubicBezTo>
                <a:cubicBezTo>
                  <a:pt x="14700175" y="1960620"/>
                  <a:pt x="14661441" y="1784031"/>
                  <a:pt x="14583969" y="1646684"/>
                </a:cubicBezTo>
                <a:cubicBezTo>
                  <a:pt x="14583969" y="1646684"/>
                  <a:pt x="14583969" y="1646684"/>
                  <a:pt x="14196613" y="1940999"/>
                </a:cubicBezTo>
                <a:cubicBezTo>
                  <a:pt x="14215981" y="1999862"/>
                  <a:pt x="14235349" y="2078346"/>
                  <a:pt x="14235349" y="2137209"/>
                </a:cubicBezTo>
                <a:cubicBezTo>
                  <a:pt x="14235349" y="2510007"/>
                  <a:pt x="13983565" y="2784701"/>
                  <a:pt x="13615577" y="2784701"/>
                </a:cubicBezTo>
                <a:cubicBezTo>
                  <a:pt x="13247589" y="2784701"/>
                  <a:pt x="12976439" y="2490386"/>
                  <a:pt x="12976439" y="2137209"/>
                </a:cubicBezTo>
                <a:cubicBezTo>
                  <a:pt x="12976439" y="1784031"/>
                  <a:pt x="13228221" y="1489716"/>
                  <a:pt x="13596209" y="1489716"/>
                </a:cubicBezTo>
                <a:cubicBezTo>
                  <a:pt x="13634945" y="1489716"/>
                  <a:pt x="13654313" y="1489716"/>
                  <a:pt x="13693049" y="1489716"/>
                </a:cubicBezTo>
                <a:cubicBezTo>
                  <a:pt x="13693049" y="1489716"/>
                  <a:pt x="13693049" y="1489716"/>
                  <a:pt x="13518737" y="2274556"/>
                </a:cubicBezTo>
                <a:cubicBezTo>
                  <a:pt x="13518737" y="2274556"/>
                  <a:pt x="13518737" y="2274556"/>
                  <a:pt x="13576841" y="2313797"/>
                </a:cubicBezTo>
                <a:cubicBezTo>
                  <a:pt x="13576841" y="2313797"/>
                  <a:pt x="13576841" y="2313797"/>
                  <a:pt x="15302449" y="208867"/>
                </a:cubicBezTo>
                <a:lnTo>
                  <a:pt x="15473677" y="0"/>
                </a:lnTo>
                <a:lnTo>
                  <a:pt x="19895817" y="0"/>
                </a:lnTo>
                <a:lnTo>
                  <a:pt x="20086775" y="11552"/>
                </a:lnTo>
                <a:cubicBezTo>
                  <a:pt x="20517065" y="68345"/>
                  <a:pt x="20714017" y="312956"/>
                  <a:pt x="20739957" y="787481"/>
                </a:cubicBezTo>
                <a:lnTo>
                  <a:pt x="20742935" y="901016"/>
                </a:lnTo>
                <a:lnTo>
                  <a:pt x="20742935" y="3471506"/>
                </a:lnTo>
                <a:lnTo>
                  <a:pt x="20739957" y="3585041"/>
                </a:lnTo>
                <a:cubicBezTo>
                  <a:pt x="20710027" y="4132570"/>
                  <a:pt x="20452417" y="4374000"/>
                  <a:pt x="19871385" y="4374000"/>
                </a:cubicBezTo>
                <a:lnTo>
                  <a:pt x="871552" y="4374000"/>
                </a:lnTo>
                <a:cubicBezTo>
                  <a:pt x="251782" y="4374000"/>
                  <a:pt x="0" y="4099306"/>
                  <a:pt x="0" y="3471435"/>
                </a:cubicBezTo>
                <a:cubicBezTo>
                  <a:pt x="0" y="3471435"/>
                  <a:pt x="0" y="3471435"/>
                  <a:pt x="0" y="901087"/>
                </a:cubicBezTo>
                <a:cubicBezTo>
                  <a:pt x="0" y="351700"/>
                  <a:pt x="192771" y="72714"/>
                  <a:pt x="656161" y="11552"/>
                </a:cubicBezTo>
                <a:close/>
              </a:path>
            </a:pathLst>
          </a:custGeom>
          <a:solidFill>
            <a:schemeClr val="bg1"/>
          </a:solidFill>
          <a:ln w="9525">
            <a:noFill/>
            <a:miter lim="800000"/>
            <a:headEnd/>
            <a:tailEnd/>
          </a:ln>
          <a:effectLst/>
        </p:spPr>
        <p:txBody>
          <a:bodyPr wrap="square">
            <a:noAutofit/>
          </a:bodyPr>
          <a:lstStyle>
            <a:lvl1pPr marL="0" indent="0">
              <a:buNone/>
              <a:defRPr sz="100">
                <a:noFill/>
              </a:defRPr>
            </a:lvl1pPr>
            <a:lvl2pPr>
              <a:defRPr>
                <a:noFill/>
              </a:defRPr>
            </a:lvl2pPr>
            <a:lvl3pPr>
              <a:defRPr>
                <a:noFill/>
              </a:defRPr>
            </a:lvl3pPr>
            <a:lvl4pPr>
              <a:defRPr>
                <a:noFill/>
              </a:defRPr>
            </a:lvl4pPr>
            <a:lvl5pPr>
              <a:defRPr>
                <a:noFill/>
              </a:defRPr>
            </a:lvl5pPr>
          </a:lstStyle>
          <a:p>
            <a:pPr lvl="0"/>
            <a:r>
              <a:rPr lang="en-GB"/>
              <a:t>vel</a:t>
            </a:r>
          </a:p>
        </p:txBody>
      </p:sp>
      <p:sp>
        <p:nvSpPr>
          <p:cNvPr id="10" name="Slide Number Placeholder 5" hidden="1">
            <a:extLst>
              <a:ext uri="{FF2B5EF4-FFF2-40B4-BE49-F238E27FC236}">
                <a16:creationId xmlns:a16="http://schemas.microsoft.com/office/drawing/2014/main" id="{DB3E8C21-56F3-43EB-BF88-4EEB72C3F75D}"/>
              </a:ext>
            </a:extLst>
          </p:cNvPr>
          <p:cNvSpPr>
            <a:spLocks noGrp="1"/>
          </p:cNvSpPr>
          <p:nvPr>
            <p:ph type="sldNum" sz="quarter" idx="4"/>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11" name="Footer Placeholder 4" hidden="1">
            <a:extLst>
              <a:ext uri="{FF2B5EF4-FFF2-40B4-BE49-F238E27FC236}">
                <a16:creationId xmlns:a16="http://schemas.microsoft.com/office/drawing/2014/main" id="{35D10A95-9140-4D91-8BAE-655D1782D7D6}"/>
              </a:ext>
            </a:extLst>
          </p:cNvPr>
          <p:cNvSpPr>
            <a:spLocks noGrp="1"/>
          </p:cNvSpPr>
          <p:nvPr>
            <p:ph type="ftr" sz="quarter" idx="3"/>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12" name="Date_DateCustomA" hidden="1">
            <a:extLst>
              <a:ext uri="{FF2B5EF4-FFF2-40B4-BE49-F238E27FC236}">
                <a16:creationId xmlns:a16="http://schemas.microsoft.com/office/drawing/2014/main" id="{3FA8083C-E59E-4629-A5C9-D403872552DF}"/>
              </a:ext>
            </a:extLst>
          </p:cNvPr>
          <p:cNvSpPr>
            <a:spLocks noGrp="1"/>
          </p:cNvSpPr>
          <p:nvPr>
            <p:ph type="dt" sz="half" idx="2"/>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Quote">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0413" cy="68595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GB" noProof="0"/>
          </a:p>
        </p:txBody>
      </p:sp>
      <p:sp>
        <p:nvSpPr>
          <p:cNvPr id="10" name="Title 1">
            <a:extLst>
              <a:ext uri="{FF2B5EF4-FFF2-40B4-BE49-F238E27FC236}">
                <a16:creationId xmlns:a16="http://schemas.microsoft.com/office/drawing/2014/main" id="{6C267E1F-9146-4D51-A3EA-9E268FC35F7A}"/>
              </a:ext>
            </a:extLst>
          </p:cNvPr>
          <p:cNvSpPr>
            <a:spLocks noGrp="1"/>
          </p:cNvSpPr>
          <p:nvPr>
            <p:ph type="title" hasCustomPrompt="1"/>
          </p:nvPr>
        </p:nvSpPr>
        <p:spPr>
          <a:xfrm>
            <a:off x="798513" y="1946365"/>
            <a:ext cx="7329487" cy="2769325"/>
          </a:xfrm>
        </p:spPr>
        <p:txBody>
          <a:bodyPr/>
          <a:lstStyle>
            <a:lvl1pPr>
              <a:defRPr sz="3200" b="0" cap="none">
                <a:solidFill>
                  <a:schemeClr val="tx1"/>
                </a:solidFill>
              </a:defRPr>
            </a:lvl1pPr>
          </a:lstStyle>
          <a:p>
            <a:r>
              <a:rPr lang="en-GB"/>
              <a:t>Quotation</a:t>
            </a:r>
          </a:p>
        </p:txBody>
      </p:sp>
      <p:sp>
        <p:nvSpPr>
          <p:cNvPr id="26" name="Text Placeholder 5">
            <a:extLst>
              <a:ext uri="{FF2B5EF4-FFF2-40B4-BE49-F238E27FC236}">
                <a16:creationId xmlns:a16="http://schemas.microsoft.com/office/drawing/2014/main" id="{1E1ADCAE-53E0-4B32-A2CA-095078D0C634}"/>
              </a:ext>
            </a:extLst>
          </p:cNvPr>
          <p:cNvSpPr>
            <a:spLocks noGrp="1"/>
          </p:cNvSpPr>
          <p:nvPr>
            <p:ph type="body" sz="quarter" idx="11" hasCustomPrompt="1"/>
          </p:nvPr>
        </p:nvSpPr>
        <p:spPr>
          <a:xfrm>
            <a:off x="795968" y="5020098"/>
            <a:ext cx="7332035" cy="1084262"/>
          </a:xfrm>
        </p:spPr>
        <p:txBody>
          <a:bodyPr lIns="0"/>
          <a:lstStyle>
            <a:lvl1pPr marL="0" indent="0">
              <a:buFont typeface="Arial" panose="020B0604020202020204" pitchFamily="34" charset="0"/>
              <a:buChar char="​"/>
              <a:defRPr sz="1600" baseline="0">
                <a:solidFill>
                  <a:schemeClr val="tx1"/>
                </a:solidFill>
              </a:defRPr>
            </a:lvl1pPr>
          </a:lstStyle>
          <a:p>
            <a:pPr lvl="0"/>
            <a:r>
              <a:rPr lang="en-GB"/>
              <a:t>Name, Title</a:t>
            </a:r>
          </a:p>
        </p:txBody>
      </p:sp>
      <p:sp>
        <p:nvSpPr>
          <p:cNvPr id="12"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31421AFA-3AE7-4CEA-BC9B-447859BED57B}" type="slidenum">
              <a:rPr lang="en-GB" smtClean="0"/>
              <a:pPr/>
              <a:t>‹#›</a:t>
            </a:fld>
            <a:endParaRPr lang="en-GB"/>
          </a:p>
        </p:txBody>
      </p:sp>
      <p:sp>
        <p:nvSpPr>
          <p:cNvPr id="6" name="TextBox 5">
            <a:extLst>
              <a:ext uri="{FF2B5EF4-FFF2-40B4-BE49-F238E27FC236}">
                <a16:creationId xmlns:a16="http://schemas.microsoft.com/office/drawing/2014/main" id="{CEE8FF56-E9E6-4CE1-A183-9B907183A27A}"/>
              </a:ext>
            </a:extLst>
          </p:cNvPr>
          <p:cNvSpPr txBox="1"/>
          <p:nvPr userDrawn="1"/>
        </p:nvSpPr>
        <p:spPr bwMode="auto">
          <a:xfrm>
            <a:off x="805436" y="2250351"/>
            <a:ext cx="1671637" cy="2830159"/>
          </a:xfrm>
          <a:prstGeom prst="rect">
            <a:avLst/>
          </a:prstGeom>
          <a:noFill/>
          <a:ln w="9525">
            <a:noFill/>
            <a:miter lim="800000"/>
            <a:headEnd/>
            <a:tailEnd/>
          </a:ln>
          <a:effectLst/>
        </p:spPr>
        <p:txBody>
          <a:bodyPr vert="horz" wrap="square" lIns="36000" tIns="0" rIns="0" bIns="0" numCol="1" rtlCol="0" anchor="t" anchorCtr="0" compatLnSpc="1">
            <a:prstTxWarp prst="textNoShape">
              <a:avLst/>
            </a:prstTxWarp>
            <a:noAutofit/>
          </a:bodyPr>
          <a:lstStyle/>
          <a:p>
            <a:pPr marL="12700" marR="0" indent="-25400" algn="l" defTabSz="457200" rtl="0" eaLnBrk="0" fontAlgn="base" latinLnBrk="0" hangingPunct="0">
              <a:lnSpc>
                <a:spcPts val="2163"/>
              </a:lnSpc>
              <a:spcBef>
                <a:spcPct val="0"/>
              </a:spcBef>
              <a:spcAft>
                <a:spcPts val="1500"/>
              </a:spcAft>
              <a:buClrTx/>
              <a:buSzTx/>
              <a:tabLst/>
            </a:pPr>
            <a:r>
              <a:rPr kumimoji="0" lang="en-GB" sz="199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a:t>
            </a:r>
          </a:p>
        </p:txBody>
      </p:sp>
      <p:sp>
        <p:nvSpPr>
          <p:cNvPr id="14" name="Freeform 5">
            <a:extLst>
              <a:ext uri="{FF2B5EF4-FFF2-40B4-BE49-F238E27FC236}">
                <a16:creationId xmlns:a16="http://schemas.microsoft.com/office/drawing/2014/main" id="{A9AB153B-AFF1-4043-8D3F-263FEAF2377E}"/>
              </a:ext>
            </a:extLst>
          </p:cNvPr>
          <p:cNvSpPr>
            <a:spLocks noEditPoints="1"/>
          </p:cNvSpPr>
          <p:nvPr userDrawn="1"/>
        </p:nvSpPr>
        <p:spPr bwMode="auto">
          <a:xfrm>
            <a:off x="798513" y="6159600"/>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15" name="Footer Placeholder 4">
            <a:extLst>
              <a:ext uri="{FF2B5EF4-FFF2-40B4-BE49-F238E27FC236}">
                <a16:creationId xmlns:a16="http://schemas.microsoft.com/office/drawing/2014/main" id="{55D8EFE0-F00D-46BC-9E29-8C829868EFF4}"/>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tx1"/>
                </a:solidFill>
              </a:defRPr>
            </a:lvl1pPr>
          </a:lstStyle>
          <a:p>
            <a:pPr algn="r"/>
            <a:endParaRPr lang="en-GB"/>
          </a:p>
        </p:txBody>
      </p:sp>
      <p:sp>
        <p:nvSpPr>
          <p:cNvPr id="17" name="Date_DateCustomA">
            <a:extLst>
              <a:ext uri="{FF2B5EF4-FFF2-40B4-BE49-F238E27FC236}">
                <a16:creationId xmlns:a16="http://schemas.microsoft.com/office/drawing/2014/main" id="{BA90A93D-37F9-4C65-91AC-8C8D05B4C5B1}"/>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FA8D4E2C-4AD4-4902-9AA6-258C412AEED1}" type="datetime1">
              <a:rPr lang="en-GB" smtClean="0"/>
              <a:t>04/03/2024</a:t>
            </a:fld>
            <a:endParaRPr lang="en-GB"/>
          </a:p>
        </p:txBody>
      </p:sp>
    </p:spTree>
    <p:extLst>
      <p:ext uri="{BB962C8B-B14F-4D97-AF65-F5344CB8AC3E}">
        <p14:creationId xmlns:p14="http://schemas.microsoft.com/office/powerpoint/2010/main" val="3698595961"/>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4" name="Title 7">
            <a:extLst>
              <a:ext uri="{FF2B5EF4-FFF2-40B4-BE49-F238E27FC236}">
                <a16:creationId xmlns:a16="http://schemas.microsoft.com/office/drawing/2014/main" id="{65C857B0-BA7F-4231-B59A-526700FAC84B}"/>
              </a:ext>
            </a:extLst>
          </p:cNvPr>
          <p:cNvSpPr>
            <a:spLocks noGrp="1"/>
          </p:cNvSpPr>
          <p:nvPr>
            <p:ph type="title"/>
          </p:nvPr>
        </p:nvSpPr>
        <p:spPr>
          <a:xfrm>
            <a:off x="798512" y="452543"/>
            <a:ext cx="10588625" cy="748800"/>
          </a:xfrm>
        </p:spPr>
        <p:txBody>
          <a:bodyPr/>
          <a:lstStyle/>
          <a:p>
            <a:r>
              <a:rPr lang="en-GB"/>
              <a:t>Click to edit Master title style</a:t>
            </a:r>
          </a:p>
        </p:txBody>
      </p:sp>
      <p:sp>
        <p:nvSpPr>
          <p:cNvPr id="5" name="Footer Placeholder 4">
            <a:extLst>
              <a:ext uri="{FF2B5EF4-FFF2-40B4-BE49-F238E27FC236}">
                <a16:creationId xmlns:a16="http://schemas.microsoft.com/office/drawing/2014/main" id="{702E9997-006D-492C-9877-F7617EDD299A}"/>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7" name="Date_DateCustomA">
            <a:extLst>
              <a:ext uri="{FF2B5EF4-FFF2-40B4-BE49-F238E27FC236}">
                <a16:creationId xmlns:a16="http://schemas.microsoft.com/office/drawing/2014/main" id="{5FC6988B-A4CB-4E12-A565-68D705C3ABCC}"/>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F2E10D1A-D613-41CE-B02A-846290684BA0}" type="datetime1">
              <a:rPr lang="en-GB" smtClean="0"/>
              <a:t>04/03/2024</a:t>
            </a:fld>
            <a:endParaRPr lang="en-GB"/>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3" name="Footer Placeholder 4">
            <a:extLst>
              <a:ext uri="{FF2B5EF4-FFF2-40B4-BE49-F238E27FC236}">
                <a16:creationId xmlns:a16="http://schemas.microsoft.com/office/drawing/2014/main" id="{3ED85EA1-D7DA-4042-AE58-E34BD5AC52E3}"/>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5" name="Date_DateCustomA">
            <a:extLst>
              <a:ext uri="{FF2B5EF4-FFF2-40B4-BE49-F238E27FC236}">
                <a16:creationId xmlns:a16="http://schemas.microsoft.com/office/drawing/2014/main" id="{235F65ED-2265-47AB-ACC6-E4B66C390755}"/>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47FB7D42-25F0-4925-AB91-37097B4A81F1}" type="datetime1">
              <a:rPr lang="en-GB" smtClean="0"/>
              <a:t>04/03/2024</a:t>
            </a:fld>
            <a:endParaRPr lang="en-GB"/>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nd slide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0413" cy="6859588"/>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GB" noProof="0"/>
          </a:p>
        </p:txBody>
      </p:sp>
      <p:sp>
        <p:nvSpPr>
          <p:cNvPr id="2" name="Title Placeholder 1"/>
          <p:cNvSpPr>
            <a:spLocks noGrp="1"/>
          </p:cNvSpPr>
          <p:nvPr>
            <p:ph type="ctrTitle"/>
          </p:nvPr>
        </p:nvSpPr>
        <p:spPr>
          <a:xfrm>
            <a:off x="798512" y="452544"/>
            <a:ext cx="10588625" cy="1196721"/>
          </a:xfrm>
        </p:spPr>
        <p:txBody>
          <a:bodyPr tIns="0"/>
          <a:lstStyle>
            <a:lvl1pPr>
              <a:defRPr sz="3200" cap="all" baseline="0" smtClean="0">
                <a:solidFill>
                  <a:schemeClr val="bg1"/>
                </a:solidFill>
                <a:latin typeface="Verdana" pitchFamily="34" charset="0"/>
              </a:defRPr>
            </a:lvl1pPr>
          </a:lstStyle>
          <a:p>
            <a:r>
              <a:rPr lang="en-GB" noProof="0"/>
              <a:t>Click to edit Master title style</a:t>
            </a:r>
          </a:p>
        </p:txBody>
      </p:sp>
      <p:sp>
        <p:nvSpPr>
          <p:cNvPr id="12"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1" name="Freeform 5">
            <a:extLst>
              <a:ext uri="{FF2B5EF4-FFF2-40B4-BE49-F238E27FC236}">
                <a16:creationId xmlns:a16="http://schemas.microsoft.com/office/drawing/2014/main" id="{91808B17-7D73-48EF-8BED-63693AB76B0C}"/>
              </a:ext>
            </a:extLst>
          </p:cNvPr>
          <p:cNvSpPr>
            <a:spLocks noEditPoints="1"/>
          </p:cNvSpPr>
          <p:nvPr userDrawn="1"/>
        </p:nvSpPr>
        <p:spPr bwMode="auto">
          <a:xfrm>
            <a:off x="798513" y="6159600"/>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Footer Placeholder 4">
            <a:extLst>
              <a:ext uri="{FF2B5EF4-FFF2-40B4-BE49-F238E27FC236}">
                <a16:creationId xmlns:a16="http://schemas.microsoft.com/office/drawing/2014/main" id="{135857DB-8C0B-4148-8AB1-F694D65BFA75}"/>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a:p>
        </p:txBody>
      </p:sp>
      <p:sp>
        <p:nvSpPr>
          <p:cNvPr id="15" name="Date_DateCustomA">
            <a:extLst>
              <a:ext uri="{FF2B5EF4-FFF2-40B4-BE49-F238E27FC236}">
                <a16:creationId xmlns:a16="http://schemas.microsoft.com/office/drawing/2014/main" id="{862E3217-7BDA-45E6-ADB1-C065AF264561}"/>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9270F80D-0DED-41DC-8003-ACA44099192B}" type="datetime1">
              <a:rPr lang="en-GB" smtClean="0"/>
              <a:t>04/03/2024</a:t>
            </a:fld>
            <a:endParaRPr lang="en-GB"/>
          </a:p>
        </p:txBody>
      </p:sp>
    </p:spTree>
    <p:extLst>
      <p:ext uri="{BB962C8B-B14F-4D97-AF65-F5344CB8AC3E}">
        <p14:creationId xmlns:p14="http://schemas.microsoft.com/office/powerpoint/2010/main" val="3982690067"/>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slide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0413" cy="6859588"/>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GB" noProof="0"/>
          </a:p>
        </p:txBody>
      </p:sp>
      <p:sp>
        <p:nvSpPr>
          <p:cNvPr id="15" name="Title 1">
            <a:extLst>
              <a:ext uri="{FF2B5EF4-FFF2-40B4-BE49-F238E27FC236}">
                <a16:creationId xmlns:a16="http://schemas.microsoft.com/office/drawing/2014/main" id="{07DF7DBE-6CC3-4F9E-A396-E82820B89EC7}"/>
              </a:ext>
            </a:extLst>
          </p:cNvPr>
          <p:cNvSpPr>
            <a:spLocks noGrp="1"/>
          </p:cNvSpPr>
          <p:nvPr>
            <p:ph type="title" hasCustomPrompt="1"/>
          </p:nvPr>
        </p:nvSpPr>
        <p:spPr>
          <a:xfrm>
            <a:off x="798514" y="452544"/>
            <a:ext cx="4886324" cy="4432966"/>
          </a:xfrm>
        </p:spPr>
        <p:txBody>
          <a:bodyPr/>
          <a:lstStyle>
            <a:lvl1pPr>
              <a:defRPr>
                <a:solidFill>
                  <a:schemeClr val="bg1"/>
                </a:solidFill>
              </a:defRPr>
            </a:lvl1pPr>
          </a:lstStyle>
          <a:p>
            <a:r>
              <a:rPr lang="en-GB"/>
              <a:t>Thank you</a:t>
            </a:r>
          </a:p>
        </p:txBody>
      </p:sp>
      <p:sp>
        <p:nvSpPr>
          <p:cNvPr id="10" name="Text Placeholder 5">
            <a:extLst>
              <a:ext uri="{FF2B5EF4-FFF2-40B4-BE49-F238E27FC236}">
                <a16:creationId xmlns:a16="http://schemas.microsoft.com/office/drawing/2014/main" id="{7AAE5DB4-A422-4286-935C-1ABCA4CCEFA2}"/>
              </a:ext>
            </a:extLst>
          </p:cNvPr>
          <p:cNvSpPr>
            <a:spLocks noGrp="1"/>
          </p:cNvSpPr>
          <p:nvPr>
            <p:ph type="body" sz="quarter" idx="11" hasCustomPrompt="1"/>
          </p:nvPr>
        </p:nvSpPr>
        <p:spPr>
          <a:xfrm>
            <a:off x="798514" y="4971350"/>
            <a:ext cx="4886324" cy="365455"/>
          </a:xfrm>
        </p:spPr>
        <p:txBody>
          <a:bodyPr lIns="0" anchor="b" anchorCtr="0"/>
          <a:lstStyle>
            <a:lvl1pPr marL="0" indent="0">
              <a:buFont typeface="Arial" panose="020B0604020202020204" pitchFamily="34" charset="0"/>
              <a:buChar char="​"/>
              <a:defRPr sz="1600">
                <a:solidFill>
                  <a:schemeClr val="bg1"/>
                </a:solidFill>
              </a:defRPr>
            </a:lvl1pPr>
          </a:lstStyle>
          <a:p>
            <a:pPr lvl="0"/>
            <a:r>
              <a:rPr lang="en-GB"/>
              <a:t>Name, Department </a:t>
            </a:r>
          </a:p>
        </p:txBody>
      </p:sp>
      <p:sp>
        <p:nvSpPr>
          <p:cNvPr id="6" name="Text Placeholder 5">
            <a:extLst>
              <a:ext uri="{FF2B5EF4-FFF2-40B4-BE49-F238E27FC236}">
                <a16:creationId xmlns:a16="http://schemas.microsoft.com/office/drawing/2014/main" id="{9B862EE0-F879-436B-A5EA-70A7F83ABF80}"/>
              </a:ext>
            </a:extLst>
          </p:cNvPr>
          <p:cNvSpPr>
            <a:spLocks noGrp="1"/>
          </p:cNvSpPr>
          <p:nvPr>
            <p:ph type="body" sz="quarter" idx="12" hasCustomPrompt="1"/>
          </p:nvPr>
        </p:nvSpPr>
        <p:spPr>
          <a:xfrm>
            <a:off x="798514" y="5334000"/>
            <a:ext cx="4886324" cy="424412"/>
          </a:xfrm>
        </p:spPr>
        <p:txBody>
          <a:bodyPr/>
          <a:lstStyle>
            <a:lvl1pPr marL="0" indent="0">
              <a:spcAft>
                <a:spcPts val="0"/>
              </a:spcAft>
              <a:buFontTx/>
              <a:buNone/>
              <a:defRPr sz="1600">
                <a:solidFill>
                  <a:schemeClr val="bg1"/>
                </a:solidFill>
              </a:defRPr>
            </a:lvl1pPr>
            <a:lvl2pPr marL="396000" indent="0">
              <a:buFontTx/>
              <a:buNone/>
              <a:defRPr sz="1600">
                <a:solidFill>
                  <a:schemeClr val="bg1"/>
                </a:solidFill>
              </a:defRPr>
            </a:lvl2pPr>
            <a:lvl3pPr marL="727200" indent="0">
              <a:buFontTx/>
              <a:buNone/>
              <a:defRPr sz="1600">
                <a:solidFill>
                  <a:schemeClr val="bg1"/>
                </a:solidFill>
              </a:defRPr>
            </a:lvl3pPr>
            <a:lvl4pPr>
              <a:buFontTx/>
              <a:buNone/>
              <a:defRPr sz="1600">
                <a:solidFill>
                  <a:schemeClr val="bg1"/>
                </a:solidFill>
              </a:defRPr>
            </a:lvl4pPr>
            <a:lvl5pPr>
              <a:buFontTx/>
              <a:buNone/>
              <a:defRPr sz="1600">
                <a:solidFill>
                  <a:schemeClr val="bg1"/>
                </a:solidFill>
              </a:defRPr>
            </a:lvl5pPr>
          </a:lstStyle>
          <a:p>
            <a:pPr lvl="0"/>
            <a:r>
              <a:rPr lang="en-GB"/>
              <a:t>xxx@ramboll.com</a:t>
            </a:r>
          </a:p>
        </p:txBody>
      </p:sp>
      <p:sp>
        <p:nvSpPr>
          <p:cNvPr id="12"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6" name="Freeform 5">
            <a:extLst>
              <a:ext uri="{FF2B5EF4-FFF2-40B4-BE49-F238E27FC236}">
                <a16:creationId xmlns:a16="http://schemas.microsoft.com/office/drawing/2014/main" id="{5A883098-EC9D-45F8-BF2C-3487DF20D354}"/>
              </a:ext>
            </a:extLst>
          </p:cNvPr>
          <p:cNvSpPr>
            <a:spLocks noEditPoints="1"/>
          </p:cNvSpPr>
          <p:nvPr userDrawn="1"/>
        </p:nvSpPr>
        <p:spPr bwMode="auto">
          <a:xfrm>
            <a:off x="798513" y="6159600"/>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4" name="Footer Placeholder 4">
            <a:extLst>
              <a:ext uri="{FF2B5EF4-FFF2-40B4-BE49-F238E27FC236}">
                <a16:creationId xmlns:a16="http://schemas.microsoft.com/office/drawing/2014/main" id="{09855619-46E8-4B12-8D5A-DE355202193B}"/>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a:p>
        </p:txBody>
      </p:sp>
      <p:sp>
        <p:nvSpPr>
          <p:cNvPr id="18" name="Date_DateCustomA">
            <a:extLst>
              <a:ext uri="{FF2B5EF4-FFF2-40B4-BE49-F238E27FC236}">
                <a16:creationId xmlns:a16="http://schemas.microsoft.com/office/drawing/2014/main" id="{9CA6E42C-D397-4857-89FC-8B948A957D40}"/>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5E849237-3873-4459-A547-67B1C8011873}" type="datetime1">
              <a:rPr lang="en-GB" smtClean="0"/>
              <a:t>04/03/2024</a:t>
            </a:fld>
            <a:endParaRPr lang="en-GB"/>
          </a:p>
        </p:txBody>
      </p:sp>
    </p:spTree>
    <p:extLst>
      <p:ext uri="{BB962C8B-B14F-4D97-AF65-F5344CB8AC3E}">
        <p14:creationId xmlns:p14="http://schemas.microsoft.com/office/powerpoint/2010/main" val="323992266"/>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9588"/>
            <a:ext cx="0" cy="0"/>
          </a:xfrm>
        </p:spPr>
        <p:txBody>
          <a:bodyPr/>
          <a:lstStyle>
            <a:lvl1pPr>
              <a:defRPr sz="100">
                <a:noFill/>
              </a:defRPr>
            </a:lvl1pPr>
          </a:lstStyle>
          <a:p>
            <a:fld id="{D1903C8B-6A03-40C4-AD50-AACDEC5FDA0C}" type="datetime1">
              <a:rPr lang="en-GB" smtClean="0"/>
              <a:t>04/03/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9588"/>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9588"/>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0413" cy="68595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1991" tIns="35995" rIns="71991" bIns="35995" rtlCol="0" anchor="ctr"/>
          <a:lstStyle/>
          <a:p>
            <a:pPr algn="ctr"/>
            <a:endParaRPr lang="en-GB" sz="2000" noProof="0"/>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1613" cy="6863189"/>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59955" y="358925"/>
            <a:ext cx="5094252" cy="151235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9954" y="2643535"/>
            <a:ext cx="2617369" cy="327676"/>
          </a:xfrm>
          <a:prstGeom prst="rect">
            <a:avLst/>
          </a:prstGeom>
        </p:spPr>
      </p:pic>
    </p:spTree>
    <p:extLst>
      <p:ext uri="{BB962C8B-B14F-4D97-AF65-F5344CB8AC3E}">
        <p14:creationId xmlns:p14="http://schemas.microsoft.com/office/powerpoint/2010/main" val="422711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reaker (A)">
    <p:spTree>
      <p:nvGrpSpPr>
        <p:cNvPr id="1" name=""/>
        <p:cNvGrpSpPr/>
        <p:nvPr/>
      </p:nvGrpSpPr>
      <p:grpSpPr>
        <a:xfrm>
          <a:off x="0" y="0"/>
          <a:ext cx="0" cy="0"/>
          <a:chOff x="0" y="0"/>
          <a:chExt cx="0" cy="0"/>
        </a:xfrm>
      </p:grpSpPr>
      <p:sp>
        <p:nvSpPr>
          <p:cNvPr id="7" name="Background"/>
          <p:cNvSpPr/>
          <p:nvPr userDrawn="1"/>
        </p:nvSpPr>
        <p:spPr>
          <a:xfrm>
            <a:off x="0" y="0"/>
            <a:ext cx="12190413" cy="685958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GB" noProof="0"/>
          </a:p>
        </p:txBody>
      </p:sp>
      <p:sp>
        <p:nvSpPr>
          <p:cNvPr id="24" name="Title 1">
            <a:extLst>
              <a:ext uri="{FF2B5EF4-FFF2-40B4-BE49-F238E27FC236}">
                <a16:creationId xmlns:a16="http://schemas.microsoft.com/office/drawing/2014/main" id="{205C9348-6845-4A4F-958A-4A052BC8EDF6}"/>
              </a:ext>
            </a:extLst>
          </p:cNvPr>
          <p:cNvSpPr>
            <a:spLocks noGrp="1"/>
          </p:cNvSpPr>
          <p:nvPr>
            <p:ph type="title" hasCustomPrompt="1"/>
          </p:nvPr>
        </p:nvSpPr>
        <p:spPr>
          <a:xfrm>
            <a:off x="798513" y="452543"/>
            <a:ext cx="7329487" cy="5255844"/>
          </a:xfrm>
        </p:spPr>
        <p:txBody>
          <a:bodyPr/>
          <a:lstStyle>
            <a:lvl1pPr>
              <a:defRPr sz="4800">
                <a:solidFill>
                  <a:schemeClr val="bg1"/>
                </a:solidFill>
              </a:defRPr>
            </a:lvl1pPr>
          </a:lstStyle>
          <a:p>
            <a:r>
              <a:rPr lang="en-GB"/>
              <a:t>Breaker text</a:t>
            </a:r>
          </a:p>
        </p:txBody>
      </p:sp>
      <p:sp>
        <p:nvSpPr>
          <p:cNvPr id="12"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1" name="Freeform 5">
            <a:extLst>
              <a:ext uri="{FF2B5EF4-FFF2-40B4-BE49-F238E27FC236}">
                <a16:creationId xmlns:a16="http://schemas.microsoft.com/office/drawing/2014/main" id="{19783461-93EA-4162-AC89-71558EC415F3}"/>
              </a:ext>
            </a:extLst>
          </p:cNvPr>
          <p:cNvSpPr>
            <a:spLocks noEditPoints="1"/>
          </p:cNvSpPr>
          <p:nvPr userDrawn="1"/>
        </p:nvSpPr>
        <p:spPr bwMode="auto">
          <a:xfrm>
            <a:off x="798513" y="6159600"/>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Footer Placeholder 4">
            <a:extLst>
              <a:ext uri="{FF2B5EF4-FFF2-40B4-BE49-F238E27FC236}">
                <a16:creationId xmlns:a16="http://schemas.microsoft.com/office/drawing/2014/main" id="{8EE38BD6-B0DE-4974-8C0E-549D4DF8AD81}"/>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a:p>
        </p:txBody>
      </p:sp>
      <p:sp>
        <p:nvSpPr>
          <p:cNvPr id="15" name="Date_DateCustomA">
            <a:extLst>
              <a:ext uri="{FF2B5EF4-FFF2-40B4-BE49-F238E27FC236}">
                <a16:creationId xmlns:a16="http://schemas.microsoft.com/office/drawing/2014/main" id="{4F117C74-452F-4005-AE59-9EDC236F06C4}"/>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39E358D6-2C07-4588-BB20-50FD0000CCEB}" type="datetime1">
              <a:rPr lang="en-GB" smtClean="0"/>
              <a:t>04/03/2024</a:t>
            </a:fld>
            <a:endParaRPr lang="en-GB"/>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9588"/>
            <a:ext cx="0" cy="0"/>
          </a:xfrm>
        </p:spPr>
        <p:txBody>
          <a:bodyPr/>
          <a:lstStyle>
            <a:lvl1pPr>
              <a:defRPr sz="100">
                <a:noFill/>
              </a:defRPr>
            </a:lvl1pPr>
          </a:lstStyle>
          <a:p>
            <a:fld id="{1B42BF88-9EAB-4FF1-8C7D-3D1A57D94546}" type="datetime1">
              <a:rPr lang="en-GB" smtClean="0"/>
              <a:t>04/03/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9588"/>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9588"/>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0413" cy="68595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1991" tIns="35995" rIns="71991" bIns="35995" rtlCol="0" anchor="ctr"/>
          <a:lstStyle/>
          <a:p>
            <a:pPr algn="ctr"/>
            <a:endParaRPr lang="en-GB" sz="2000" noProof="0"/>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1613" cy="6863189"/>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59953" y="338448"/>
            <a:ext cx="5093337" cy="1723403"/>
          </a:xfrm>
        </p:spPr>
        <p:txBody>
          <a:bodyPr anchor="t" anchorCtr="0"/>
          <a:lstStyle>
            <a:lvl1pPr algn="l">
              <a:lnSpc>
                <a:spcPct val="91000"/>
              </a:lnSpc>
              <a:defRPr sz="5999">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695" y="2163839"/>
            <a:ext cx="5093337" cy="42429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9954" y="3205825"/>
            <a:ext cx="2617369" cy="327676"/>
          </a:xfrm>
          <a:prstGeom prst="rect">
            <a:avLst/>
          </a:prstGeom>
        </p:spPr>
      </p:pic>
    </p:spTree>
    <p:extLst>
      <p:ext uri="{BB962C8B-B14F-4D97-AF65-F5344CB8AC3E}">
        <p14:creationId xmlns:p14="http://schemas.microsoft.com/office/powerpoint/2010/main" val="4356286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9588"/>
            <a:ext cx="0" cy="0"/>
          </a:xfrm>
        </p:spPr>
        <p:txBody>
          <a:bodyPr/>
          <a:lstStyle>
            <a:lvl1pPr>
              <a:defRPr sz="100">
                <a:noFill/>
              </a:defRPr>
            </a:lvl1pPr>
          </a:lstStyle>
          <a:p>
            <a:fld id="{ED06D66A-00D9-479B-9856-27577BF36107}" type="datetime1">
              <a:rPr lang="en-GB" smtClean="0"/>
              <a:t>04/03/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9588"/>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9588"/>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0413" cy="68595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1991" tIns="35995" rIns="71991" bIns="35995" rtlCol="0" anchor="ctr"/>
          <a:lstStyle/>
          <a:p>
            <a:pPr algn="ctr"/>
            <a:endParaRPr lang="en-GB" sz="2000" noProof="0"/>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1613" cy="6863189"/>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59953" y="4473121"/>
            <a:ext cx="4733384" cy="1176512"/>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59953" y="5862158"/>
            <a:ext cx="4733384" cy="544831"/>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9954" y="3362412"/>
            <a:ext cx="2617369" cy="327676"/>
          </a:xfrm>
          <a:prstGeom prst="rect">
            <a:avLst/>
          </a:prstGeom>
        </p:spPr>
      </p:pic>
    </p:spTree>
    <p:extLst>
      <p:ext uri="{BB962C8B-B14F-4D97-AF65-F5344CB8AC3E}">
        <p14:creationId xmlns:p14="http://schemas.microsoft.com/office/powerpoint/2010/main" val="5766716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9588"/>
            <a:ext cx="0" cy="0"/>
          </a:xfrm>
        </p:spPr>
        <p:txBody>
          <a:bodyPr/>
          <a:lstStyle>
            <a:lvl1pPr>
              <a:defRPr sz="100">
                <a:noFill/>
              </a:defRPr>
            </a:lvl1pPr>
          </a:lstStyle>
          <a:p>
            <a:fld id="{2D3E1E10-4E6B-4C9C-B68B-DC96BC56ABFC}" type="datetime1">
              <a:rPr lang="en-GB" smtClean="0"/>
              <a:t>04/03/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9588"/>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9588"/>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0413" cy="68595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1991" tIns="35995" rIns="71991" bIns="35995" rtlCol="0" anchor="ctr"/>
          <a:lstStyle/>
          <a:p>
            <a:pPr algn="ctr"/>
            <a:endParaRPr lang="en-GB" sz="2000" noProof="0"/>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1613" cy="6863189"/>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59954" y="4823880"/>
            <a:ext cx="4733935" cy="929323"/>
          </a:xfrm>
        </p:spPr>
        <p:txBody>
          <a:bodyPr anchor="t" anchorCtr="0"/>
          <a:lstStyle>
            <a:lvl1pPr algn="l">
              <a:lnSpc>
                <a:spcPct val="91000"/>
              </a:lnSpc>
              <a:defRPr sz="5999">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9954" y="5862158"/>
            <a:ext cx="4733935" cy="42429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9954" y="3778792"/>
            <a:ext cx="2617369" cy="327676"/>
          </a:xfrm>
          <a:prstGeom prst="rect">
            <a:avLst/>
          </a:prstGeom>
        </p:spPr>
      </p:pic>
    </p:spTree>
    <p:extLst>
      <p:ext uri="{BB962C8B-B14F-4D97-AF65-F5344CB8AC3E}">
        <p14:creationId xmlns:p14="http://schemas.microsoft.com/office/powerpoint/2010/main" val="347432107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9588"/>
            <a:ext cx="0" cy="0"/>
          </a:xfrm>
        </p:spPr>
        <p:txBody>
          <a:bodyPr/>
          <a:lstStyle>
            <a:lvl1pPr>
              <a:defRPr sz="100">
                <a:noFill/>
              </a:defRPr>
            </a:lvl1pPr>
          </a:lstStyle>
          <a:p>
            <a:fld id="{65259D24-E6A6-4D69-90CB-83073E8387B2}" type="datetime1">
              <a:rPr lang="en-GB" smtClean="0"/>
              <a:t>04/03/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9588"/>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9588"/>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0413" cy="6859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991" tIns="35995" rIns="71991" bIns="35995" rtlCol="0" anchor="ctr"/>
          <a:lstStyle/>
          <a:p>
            <a:pPr algn="ctr"/>
            <a:endParaRPr lang="en-GB"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1613" cy="6863189"/>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59953" y="5880161"/>
            <a:ext cx="2616859" cy="327676"/>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59953" y="654201"/>
            <a:ext cx="10484435" cy="802986"/>
          </a:xfrm>
        </p:spPr>
        <p:txBody>
          <a:bodyPr anchor="b" anchorCtr="0"/>
          <a:lstStyle>
            <a:lvl1pPr algn="l">
              <a:defRPr sz="5999"/>
            </a:lvl1pPr>
          </a:lstStyle>
          <a:p>
            <a:r>
              <a:rPr lang="en-GB"/>
              <a:t>Headline</a:t>
            </a:r>
          </a:p>
        </p:txBody>
      </p:sp>
      <p:sp>
        <p:nvSpPr>
          <p:cNvPr id="3" name="Subtitle 2"/>
          <p:cNvSpPr>
            <a:spLocks noGrp="1"/>
          </p:cNvSpPr>
          <p:nvPr>
            <p:ph type="subTitle" idx="1" hasCustomPrompt="1"/>
          </p:nvPr>
        </p:nvSpPr>
        <p:spPr>
          <a:xfrm>
            <a:off x="359953" y="4688285"/>
            <a:ext cx="10484435" cy="828192"/>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59953" y="1555889"/>
            <a:ext cx="10484435" cy="1476342"/>
          </a:xfrm>
        </p:spPr>
        <p:txBody>
          <a:bodyPr/>
          <a:lstStyle>
            <a:lvl1pPr marL="0" indent="0" algn="l" defTabSz="914309" rtl="0" eaLnBrk="1" latinLnBrk="0" hangingPunct="1">
              <a:lnSpc>
                <a:spcPct val="83000"/>
              </a:lnSpc>
              <a:spcBef>
                <a:spcPct val="0"/>
              </a:spcBef>
              <a:buNone/>
              <a:defRPr lang="en-US" sz="5999" kern="1200" spc="-20" baseline="0" dirty="0" smtClean="0">
                <a:solidFill>
                  <a:srgbClr val="333333"/>
                </a:solidFill>
                <a:latin typeface="+mj-lt"/>
                <a:ea typeface="+mj-ea"/>
                <a:cs typeface="+mj-cs"/>
              </a:defRPr>
            </a:lvl1pPr>
            <a:lvl2pPr marL="143986" indent="0" algn="l" defTabSz="914309" rtl="0" eaLnBrk="1" latinLnBrk="0" hangingPunct="1">
              <a:lnSpc>
                <a:spcPct val="83000"/>
              </a:lnSpc>
              <a:spcBef>
                <a:spcPct val="0"/>
              </a:spcBef>
              <a:buNone/>
              <a:defRPr lang="en-US" sz="5999"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428575385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9588"/>
            <a:ext cx="0" cy="0"/>
          </a:xfrm>
        </p:spPr>
        <p:txBody>
          <a:bodyPr/>
          <a:lstStyle>
            <a:lvl1pPr>
              <a:defRPr sz="100">
                <a:noFill/>
              </a:defRPr>
            </a:lvl1pPr>
          </a:lstStyle>
          <a:p>
            <a:fld id="{9BED15FA-6EE8-4B82-A537-F53ACAF84CA4}" type="datetime1">
              <a:rPr lang="en-GB" smtClean="0"/>
              <a:t>04/03/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9588"/>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9588"/>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0413" cy="6859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991" tIns="35995" rIns="71991" bIns="35995" rtlCol="0" anchor="ctr"/>
          <a:lstStyle/>
          <a:p>
            <a:pPr algn="ctr"/>
            <a:endParaRPr lang="en-GB"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1613" cy="6863189"/>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59953" y="5880019"/>
            <a:ext cx="2616859" cy="327676"/>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59953" y="654201"/>
            <a:ext cx="10484435" cy="802986"/>
          </a:xfrm>
        </p:spPr>
        <p:txBody>
          <a:bodyPr anchor="b" anchorCtr="0"/>
          <a:lstStyle>
            <a:lvl1pPr algn="l">
              <a:defRPr sz="5999"/>
            </a:lvl1pPr>
          </a:lstStyle>
          <a:p>
            <a:r>
              <a:rPr lang="en-GB"/>
              <a:t>Headline</a:t>
            </a:r>
          </a:p>
        </p:txBody>
      </p:sp>
      <p:sp>
        <p:nvSpPr>
          <p:cNvPr id="3" name="Subtitle 2"/>
          <p:cNvSpPr>
            <a:spLocks noGrp="1"/>
          </p:cNvSpPr>
          <p:nvPr>
            <p:ph type="subTitle" idx="1" hasCustomPrompt="1"/>
          </p:nvPr>
        </p:nvSpPr>
        <p:spPr>
          <a:xfrm>
            <a:off x="359953" y="4688285"/>
            <a:ext cx="10484435" cy="828192"/>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59953" y="1555891"/>
            <a:ext cx="10484435" cy="1476342"/>
          </a:xfrm>
        </p:spPr>
        <p:txBody>
          <a:bodyPr/>
          <a:lstStyle>
            <a:lvl1pPr marL="0" indent="0" algn="l" defTabSz="914309" rtl="0" eaLnBrk="1" latinLnBrk="0" hangingPunct="1">
              <a:lnSpc>
                <a:spcPct val="83000"/>
              </a:lnSpc>
              <a:spcBef>
                <a:spcPct val="0"/>
              </a:spcBef>
              <a:buNone/>
              <a:defRPr lang="en-US" sz="5999" kern="1200" spc="-20" baseline="0" dirty="0" smtClean="0">
                <a:solidFill>
                  <a:schemeClr val="bg1"/>
                </a:solidFill>
                <a:latin typeface="+mj-lt"/>
                <a:ea typeface="+mj-ea"/>
                <a:cs typeface="+mj-cs"/>
              </a:defRPr>
            </a:lvl1pPr>
            <a:lvl2pPr marL="143986" indent="0" algn="l" defTabSz="914309" rtl="0" eaLnBrk="1" latinLnBrk="0" hangingPunct="1">
              <a:lnSpc>
                <a:spcPct val="83000"/>
              </a:lnSpc>
              <a:spcBef>
                <a:spcPct val="0"/>
              </a:spcBef>
              <a:buNone/>
              <a:defRPr lang="en-US" sz="5999"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4023518708"/>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9588"/>
            <a:ext cx="0" cy="0"/>
          </a:xfrm>
        </p:spPr>
        <p:txBody>
          <a:bodyPr/>
          <a:lstStyle>
            <a:lvl1pPr>
              <a:defRPr sz="100">
                <a:noFill/>
              </a:defRPr>
            </a:lvl1pPr>
          </a:lstStyle>
          <a:p>
            <a:fld id="{4C6B010D-12BA-4529-B692-206652452F2C}" type="datetime1">
              <a:rPr lang="en-GB" smtClean="0"/>
              <a:t>04/03/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9588"/>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9588"/>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0413" cy="6859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1991" tIns="35995" rIns="71991" bIns="35995" rtlCol="0" anchor="ctr"/>
          <a:lstStyle/>
          <a:p>
            <a:pPr algn="ctr"/>
            <a:endParaRPr lang="en-GB" sz="2000" noProof="0"/>
          </a:p>
        </p:txBody>
      </p:sp>
      <p:sp>
        <p:nvSpPr>
          <p:cNvPr id="2" name="Title 1"/>
          <p:cNvSpPr>
            <a:spLocks noGrp="1"/>
          </p:cNvSpPr>
          <p:nvPr>
            <p:ph type="ctrTitle" hasCustomPrompt="1"/>
          </p:nvPr>
        </p:nvSpPr>
        <p:spPr>
          <a:xfrm>
            <a:off x="359953" y="654201"/>
            <a:ext cx="10484435" cy="804400"/>
          </a:xfrm>
        </p:spPr>
        <p:txBody>
          <a:bodyPr anchor="b" anchorCtr="0"/>
          <a:lstStyle>
            <a:lvl1pPr algn="l">
              <a:defRPr sz="5999"/>
            </a:lvl1pPr>
          </a:lstStyle>
          <a:p>
            <a:r>
              <a:rPr lang="en-GB"/>
              <a:t>Headline</a:t>
            </a:r>
          </a:p>
        </p:txBody>
      </p:sp>
      <p:sp>
        <p:nvSpPr>
          <p:cNvPr id="3" name="Subtitle 2"/>
          <p:cNvSpPr>
            <a:spLocks noGrp="1"/>
          </p:cNvSpPr>
          <p:nvPr>
            <p:ph type="subTitle" idx="1" hasCustomPrompt="1"/>
          </p:nvPr>
        </p:nvSpPr>
        <p:spPr>
          <a:xfrm>
            <a:off x="359953" y="4688285"/>
            <a:ext cx="10484435" cy="828192"/>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59953" y="1555891"/>
            <a:ext cx="10484435" cy="1476342"/>
          </a:xfrm>
        </p:spPr>
        <p:txBody>
          <a:bodyPr/>
          <a:lstStyle>
            <a:lvl1pPr marL="0" indent="0" algn="l" defTabSz="914309" rtl="0" eaLnBrk="1" latinLnBrk="0" hangingPunct="1">
              <a:lnSpc>
                <a:spcPct val="83000"/>
              </a:lnSpc>
              <a:spcBef>
                <a:spcPct val="0"/>
              </a:spcBef>
              <a:buNone/>
              <a:defRPr lang="en-US" sz="5999" kern="1200" spc="-20" baseline="0" dirty="0" smtClean="0">
                <a:solidFill>
                  <a:srgbClr val="333333"/>
                </a:solidFill>
                <a:latin typeface="+mj-lt"/>
                <a:ea typeface="+mj-ea"/>
                <a:cs typeface="+mj-cs"/>
              </a:defRPr>
            </a:lvl1pPr>
            <a:lvl2pPr marL="143986" indent="0" algn="l" defTabSz="914309" rtl="0" eaLnBrk="1" latinLnBrk="0" hangingPunct="1">
              <a:lnSpc>
                <a:spcPct val="83000"/>
              </a:lnSpc>
              <a:spcBef>
                <a:spcPct val="0"/>
              </a:spcBef>
              <a:buNone/>
              <a:defRPr lang="en-US" sz="5999"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9953" y="5880161"/>
            <a:ext cx="2616859" cy="327612"/>
          </a:xfrm>
          <a:prstGeom prst="rect">
            <a:avLst/>
          </a:prstGeom>
        </p:spPr>
      </p:pic>
    </p:spTree>
    <p:extLst>
      <p:ext uri="{BB962C8B-B14F-4D97-AF65-F5344CB8AC3E}">
        <p14:creationId xmlns:p14="http://schemas.microsoft.com/office/powerpoint/2010/main" val="309881713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51" y="654202"/>
            <a:ext cx="3582885" cy="1175718"/>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152" y="654202"/>
            <a:ext cx="5914255" cy="5485221"/>
          </a:xfrm>
        </p:spPr>
        <p:txBody>
          <a:bodyPr tIns="54000"/>
          <a:lstStyle>
            <a:lvl1pPr marL="342866" indent="-342866">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866" indent="-342866">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866" indent="-342866">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866" indent="-342866">
              <a:lnSpc>
                <a:spcPct val="100000"/>
              </a:lnSpc>
              <a:spcBef>
                <a:spcPts val="0"/>
              </a:spcBef>
              <a:spcAft>
                <a:spcPts val="3000"/>
              </a:spcAft>
              <a:buClr>
                <a:schemeClr val="tx2"/>
              </a:buClr>
              <a:buFont typeface="+mj-lt"/>
              <a:buAutoNum type="arabicPeriod"/>
              <a:defRPr sz="1600" b="0">
                <a:solidFill>
                  <a:srgbClr val="333333"/>
                </a:solidFill>
              </a:defRPr>
            </a:lvl4pPr>
            <a:lvl5pPr marL="342866" indent="-342866">
              <a:lnSpc>
                <a:spcPct val="100000"/>
              </a:lnSpc>
              <a:spcBef>
                <a:spcPts val="0"/>
              </a:spcBef>
              <a:spcAft>
                <a:spcPts val="3000"/>
              </a:spcAft>
              <a:buClr>
                <a:schemeClr val="tx2"/>
              </a:buClr>
              <a:buFont typeface="+mj-lt"/>
              <a:buAutoNum type="arabicPeriod"/>
              <a:defRPr sz="1600" b="0">
                <a:solidFill>
                  <a:srgbClr val="333333"/>
                </a:solidFill>
              </a:defRPr>
            </a:lvl5pPr>
            <a:lvl6pPr marL="342866" indent="-342866">
              <a:lnSpc>
                <a:spcPct val="100000"/>
              </a:lnSpc>
              <a:spcBef>
                <a:spcPts val="0"/>
              </a:spcBef>
              <a:spcAft>
                <a:spcPts val="3000"/>
              </a:spcAft>
              <a:buClr>
                <a:schemeClr val="tx2"/>
              </a:buClr>
              <a:buFont typeface="+mj-lt"/>
              <a:buAutoNum type="arabicPeriod"/>
              <a:defRPr sz="1600" b="0">
                <a:solidFill>
                  <a:srgbClr val="333333"/>
                </a:solidFill>
              </a:defRPr>
            </a:lvl6pPr>
            <a:lvl7pPr marL="342866" indent="-342866">
              <a:lnSpc>
                <a:spcPct val="100000"/>
              </a:lnSpc>
              <a:spcBef>
                <a:spcPts val="0"/>
              </a:spcBef>
              <a:spcAft>
                <a:spcPts val="3000"/>
              </a:spcAft>
              <a:buClr>
                <a:schemeClr val="tx2"/>
              </a:buClr>
              <a:buFont typeface="+mj-lt"/>
              <a:buAutoNum type="arabicPeriod"/>
              <a:defRPr sz="1600" b="0">
                <a:solidFill>
                  <a:srgbClr val="333333"/>
                </a:solidFill>
              </a:defRPr>
            </a:lvl7pPr>
            <a:lvl8pPr marL="342866" indent="-342866">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866" indent="-342866">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527E5059-8FC8-469D-AF5C-AED221334502}" type="datetime1">
              <a:rPr lang="en-GB" smtClean="0"/>
              <a:t>04/03/2024</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947025494"/>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0413" cy="68595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1991" tIns="35995" rIns="71991" bIns="35995" rtlCol="0" anchor="ctr"/>
          <a:lstStyle/>
          <a:p>
            <a:pPr algn="ctr"/>
            <a:endParaRPr lang="en-GB" sz="2000" noProof="0"/>
          </a:p>
        </p:txBody>
      </p:sp>
      <p:sp>
        <p:nvSpPr>
          <p:cNvPr id="2" name="Title 1"/>
          <p:cNvSpPr>
            <a:spLocks noGrp="1"/>
          </p:cNvSpPr>
          <p:nvPr>
            <p:ph type="title" hasCustomPrompt="1"/>
          </p:nvPr>
        </p:nvSpPr>
        <p:spPr>
          <a:xfrm>
            <a:off x="359951" y="654202"/>
            <a:ext cx="3582885" cy="1175718"/>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152" y="654202"/>
            <a:ext cx="5914255" cy="5485221"/>
          </a:xfrm>
        </p:spPr>
        <p:txBody>
          <a:bodyPr tIns="54000"/>
          <a:lstStyle>
            <a:lvl1pPr marL="342866" indent="-342866">
              <a:lnSpc>
                <a:spcPct val="100000"/>
              </a:lnSpc>
              <a:spcBef>
                <a:spcPts val="0"/>
              </a:spcBef>
              <a:spcAft>
                <a:spcPts val="3000"/>
              </a:spcAft>
              <a:buClrTx/>
              <a:buSzPct val="100000"/>
              <a:buFont typeface="+mj-lt"/>
              <a:buAutoNum type="arabicPeriod"/>
              <a:defRPr sz="1600" b="0">
                <a:solidFill>
                  <a:schemeClr val="tx1"/>
                </a:solidFill>
              </a:defRPr>
            </a:lvl1pPr>
            <a:lvl2pPr marL="342866" indent="-342866">
              <a:lnSpc>
                <a:spcPct val="100000"/>
              </a:lnSpc>
              <a:spcBef>
                <a:spcPts val="0"/>
              </a:spcBef>
              <a:spcAft>
                <a:spcPts val="3000"/>
              </a:spcAft>
              <a:buClrTx/>
              <a:buSzPct val="100000"/>
              <a:buFont typeface="+mj-lt"/>
              <a:buAutoNum type="arabicPeriod"/>
              <a:defRPr sz="1600" b="0">
                <a:solidFill>
                  <a:schemeClr val="tx1"/>
                </a:solidFill>
              </a:defRPr>
            </a:lvl2pPr>
            <a:lvl3pPr marL="342866" indent="-342866">
              <a:lnSpc>
                <a:spcPct val="100000"/>
              </a:lnSpc>
              <a:spcBef>
                <a:spcPts val="0"/>
              </a:spcBef>
              <a:spcAft>
                <a:spcPts val="3000"/>
              </a:spcAft>
              <a:buClrTx/>
              <a:buSzPct val="100000"/>
              <a:buFont typeface="+mj-lt"/>
              <a:buAutoNum type="arabicPeriod"/>
              <a:defRPr sz="1600" b="0">
                <a:solidFill>
                  <a:schemeClr val="tx1"/>
                </a:solidFill>
              </a:defRPr>
            </a:lvl3pPr>
            <a:lvl4pPr marL="342866" indent="-342866">
              <a:lnSpc>
                <a:spcPct val="100000"/>
              </a:lnSpc>
              <a:spcBef>
                <a:spcPts val="0"/>
              </a:spcBef>
              <a:spcAft>
                <a:spcPts val="3000"/>
              </a:spcAft>
              <a:buClrTx/>
              <a:buFont typeface="+mj-lt"/>
              <a:buAutoNum type="arabicPeriod"/>
              <a:defRPr sz="1600" b="0">
                <a:solidFill>
                  <a:schemeClr val="tx1"/>
                </a:solidFill>
              </a:defRPr>
            </a:lvl4pPr>
            <a:lvl5pPr marL="342866" indent="-342866">
              <a:lnSpc>
                <a:spcPct val="100000"/>
              </a:lnSpc>
              <a:spcBef>
                <a:spcPts val="0"/>
              </a:spcBef>
              <a:spcAft>
                <a:spcPts val="3000"/>
              </a:spcAft>
              <a:buClrTx/>
              <a:buFont typeface="+mj-lt"/>
              <a:buAutoNum type="arabicPeriod"/>
              <a:defRPr sz="1600" b="0">
                <a:solidFill>
                  <a:schemeClr val="tx1"/>
                </a:solidFill>
              </a:defRPr>
            </a:lvl5pPr>
            <a:lvl6pPr marL="342866" indent="-342866">
              <a:lnSpc>
                <a:spcPct val="100000"/>
              </a:lnSpc>
              <a:spcBef>
                <a:spcPts val="0"/>
              </a:spcBef>
              <a:spcAft>
                <a:spcPts val="3000"/>
              </a:spcAft>
              <a:buClrTx/>
              <a:buFont typeface="+mj-lt"/>
              <a:buAutoNum type="arabicPeriod"/>
              <a:defRPr sz="1600" b="0">
                <a:solidFill>
                  <a:schemeClr val="tx1"/>
                </a:solidFill>
              </a:defRPr>
            </a:lvl6pPr>
            <a:lvl7pPr marL="342866" indent="-342866">
              <a:lnSpc>
                <a:spcPct val="100000"/>
              </a:lnSpc>
              <a:spcBef>
                <a:spcPts val="0"/>
              </a:spcBef>
              <a:spcAft>
                <a:spcPts val="3000"/>
              </a:spcAft>
              <a:buClrTx/>
              <a:buFont typeface="+mj-lt"/>
              <a:buAutoNum type="arabicPeriod"/>
              <a:defRPr sz="1600" b="0">
                <a:solidFill>
                  <a:schemeClr val="tx1"/>
                </a:solidFill>
              </a:defRPr>
            </a:lvl7pPr>
            <a:lvl8pPr marL="342866" indent="-342866">
              <a:lnSpc>
                <a:spcPct val="100000"/>
              </a:lnSpc>
              <a:spcBef>
                <a:spcPts val="0"/>
              </a:spcBef>
              <a:spcAft>
                <a:spcPts val="3000"/>
              </a:spcAft>
              <a:buClrTx/>
              <a:buSzPct val="100000"/>
              <a:buFont typeface="+mj-lt"/>
              <a:buAutoNum type="arabicPeriod"/>
              <a:defRPr sz="1600" b="0">
                <a:solidFill>
                  <a:schemeClr val="tx1"/>
                </a:solidFill>
              </a:defRPr>
            </a:lvl8pPr>
            <a:lvl9pPr marL="342866" indent="-342866">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B0A79E5A-EC3D-4F9C-8449-9968B8A873CD}" type="datetime1">
              <a:rPr lang="en-GB" smtClean="0"/>
              <a:t>04/03/2024</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59954" y="6368828"/>
            <a:ext cx="775602" cy="21549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18112712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4DE8F052-B495-40BE-9682-094846479C8E}" type="datetime1">
              <a:rPr lang="en-GB" smtClean="0"/>
              <a:t>04/03/2024</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8018371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5207" y="1829920"/>
            <a:ext cx="0" cy="4295794"/>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52" y="1829920"/>
            <a:ext cx="5557676" cy="4296996"/>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3982" y="1829920"/>
            <a:ext cx="5557676" cy="4295794"/>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1B4C9864-BFD0-4574-B370-8DFD1BF6363B}" type="datetime1">
              <a:rPr lang="en-GB" smtClean="0"/>
              <a:t>04/03/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288701528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C666208A-F4F9-4299-9F9F-6881C4C08564}"/>
              </a:ext>
            </a:extLst>
          </p:cNvPr>
          <p:cNvSpPr/>
          <p:nvPr userDrawn="1"/>
        </p:nvSpPr>
        <p:spPr>
          <a:xfrm>
            <a:off x="0" y="0"/>
            <a:ext cx="12190413" cy="685958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GB" noProof="0"/>
          </a:p>
        </p:txBody>
      </p:sp>
      <p:sp>
        <p:nvSpPr>
          <p:cNvPr id="15" name="Title 1">
            <a:extLst>
              <a:ext uri="{FF2B5EF4-FFF2-40B4-BE49-F238E27FC236}">
                <a16:creationId xmlns:a16="http://schemas.microsoft.com/office/drawing/2014/main" id="{07DF7DBE-6CC3-4F9E-A396-E82820B89EC7}"/>
              </a:ext>
            </a:extLst>
          </p:cNvPr>
          <p:cNvSpPr>
            <a:spLocks noGrp="1"/>
          </p:cNvSpPr>
          <p:nvPr>
            <p:ph type="title" hasCustomPrompt="1"/>
          </p:nvPr>
        </p:nvSpPr>
        <p:spPr>
          <a:xfrm>
            <a:off x="798514" y="452543"/>
            <a:ext cx="4886324" cy="5255844"/>
          </a:xfrm>
        </p:spPr>
        <p:txBody>
          <a:bodyPr/>
          <a:lstStyle>
            <a:lvl1pPr>
              <a:defRPr>
                <a:solidFill>
                  <a:schemeClr val="bg1"/>
                </a:solidFill>
              </a:defRPr>
            </a:lvl1pPr>
          </a:lstStyle>
          <a:p>
            <a:r>
              <a:rPr lang="en-GB"/>
              <a:t>Breaker text</a:t>
            </a:r>
          </a:p>
        </p:txBody>
      </p:sp>
      <p:sp>
        <p:nvSpPr>
          <p:cNvPr id="12"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4" name="Freeform 5">
            <a:extLst>
              <a:ext uri="{FF2B5EF4-FFF2-40B4-BE49-F238E27FC236}">
                <a16:creationId xmlns:a16="http://schemas.microsoft.com/office/drawing/2014/main" id="{428454B1-AE1A-41EC-AD14-E0008864B561}"/>
              </a:ext>
            </a:extLst>
          </p:cNvPr>
          <p:cNvSpPr>
            <a:spLocks noEditPoints="1"/>
          </p:cNvSpPr>
          <p:nvPr userDrawn="1"/>
        </p:nvSpPr>
        <p:spPr bwMode="auto">
          <a:xfrm>
            <a:off x="798513" y="6159600"/>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1" name="Footer Placeholder 4">
            <a:extLst>
              <a:ext uri="{FF2B5EF4-FFF2-40B4-BE49-F238E27FC236}">
                <a16:creationId xmlns:a16="http://schemas.microsoft.com/office/drawing/2014/main" id="{7AE25691-DC33-4C04-AF2A-3DEFF887BB00}"/>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a:p>
        </p:txBody>
      </p:sp>
      <p:sp>
        <p:nvSpPr>
          <p:cNvPr id="17" name="Date_DateCustomA">
            <a:extLst>
              <a:ext uri="{FF2B5EF4-FFF2-40B4-BE49-F238E27FC236}">
                <a16:creationId xmlns:a16="http://schemas.microsoft.com/office/drawing/2014/main" id="{F99201D3-72C4-4206-8970-FC1ACB025C0A}"/>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E6892AED-DD77-42C7-BB42-12F75B7E66E8}" type="datetime1">
              <a:rPr lang="en-GB" smtClean="0"/>
              <a:t>04/03/2024</a:t>
            </a:fld>
            <a:endParaRPr lang="en-GB"/>
          </a:p>
        </p:txBody>
      </p:sp>
    </p:spTree>
    <p:extLst>
      <p:ext uri="{BB962C8B-B14F-4D97-AF65-F5344CB8AC3E}">
        <p14:creationId xmlns:p14="http://schemas.microsoft.com/office/powerpoint/2010/main" val="20902737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3788" y="1829920"/>
            <a:ext cx="0" cy="4295794"/>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52" y="1829920"/>
            <a:ext cx="3582883" cy="4296996"/>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153" y="1829920"/>
            <a:ext cx="7528505" cy="4295794"/>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B9941A0D-1A7D-4418-872D-0A573109AE3D}" type="datetime1">
              <a:rPr lang="en-GB" smtClean="0"/>
              <a:t>04/03/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039157876"/>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6625" y="1829920"/>
            <a:ext cx="0" cy="4295794"/>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5990" y="1829920"/>
            <a:ext cx="3585668" cy="4296996"/>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52" y="1829920"/>
            <a:ext cx="7523021" cy="4295794"/>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CE630481-804D-4542-835F-93D05E69FE5F}" type="datetime1">
              <a:rPr lang="en-GB" smtClean="0"/>
              <a:t>04/03/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4234044073"/>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5207" y="1829920"/>
            <a:ext cx="0" cy="4295794"/>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53" y="1829920"/>
            <a:ext cx="5557676" cy="4296996"/>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3982" y="1829920"/>
            <a:ext cx="5557676" cy="4295794"/>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7BF43399-B145-4BBC-AF2A-C9EC8B4305A6}" type="datetime1">
              <a:rPr lang="en-GB" smtClean="0"/>
              <a:t>04/03/2024</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726481537"/>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3788" y="1829920"/>
            <a:ext cx="0" cy="4295794"/>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6625" y="1829920"/>
            <a:ext cx="0" cy="4295794"/>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51" y="1829920"/>
            <a:ext cx="3582886" cy="4295794"/>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152" y="1829920"/>
            <a:ext cx="3582521" cy="4295794"/>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5990" y="1829920"/>
            <a:ext cx="3584108" cy="4295794"/>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2D74F0F3-9842-478D-99B7-277D0E19CEC9}" type="datetime1">
              <a:rPr lang="en-GB" smtClean="0"/>
              <a:t>04/03/2024</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82475010"/>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103" y="1829920"/>
            <a:ext cx="0" cy="4295794"/>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5256" y="1829920"/>
            <a:ext cx="0" cy="4295794"/>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6409" y="1829920"/>
            <a:ext cx="0" cy="4295794"/>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51" y="1829920"/>
            <a:ext cx="2595262" cy="4295794"/>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8766" y="1829920"/>
            <a:ext cx="2595262" cy="4295794"/>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7581" y="1829920"/>
            <a:ext cx="2595262" cy="4295794"/>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6397" y="1829920"/>
            <a:ext cx="2595262" cy="4295794"/>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233B4BAF-2B92-4850-839C-D15349852EB5}" type="datetime1">
              <a:rPr lang="en-GB" smtClean="0"/>
              <a:t>04/03/2024</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261030656"/>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103" y="1829920"/>
            <a:ext cx="0" cy="4295794"/>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5256" y="1829920"/>
            <a:ext cx="0" cy="4295794"/>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6409" y="1829920"/>
            <a:ext cx="0" cy="4295794"/>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28" y="3884742"/>
            <a:ext cx="2595262" cy="2241251"/>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7951" y="3884742"/>
            <a:ext cx="2595262" cy="2241251"/>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174" y="3884742"/>
            <a:ext cx="2595262" cy="2241251"/>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6397" y="3884742"/>
            <a:ext cx="2595262" cy="2241251"/>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51" y="1829919"/>
            <a:ext cx="2595262" cy="1894531"/>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8766" y="1829919"/>
            <a:ext cx="2595262" cy="1894531"/>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7581" y="1829919"/>
            <a:ext cx="2595262" cy="1894531"/>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6397" y="1829919"/>
            <a:ext cx="2595262" cy="1894531"/>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7B5352C5-81EC-4100-8EF4-0409291AC406}" type="datetime1">
              <a:rPr lang="en-GB" smtClean="0"/>
              <a:t>04/03/2024</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367168505"/>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48926" y="0"/>
            <a:ext cx="3941487" cy="68631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3" name="Content Placeholder 2"/>
          <p:cNvSpPr>
            <a:spLocks noGrp="1"/>
          </p:cNvSpPr>
          <p:nvPr>
            <p:ph idx="1" hasCustomPrompt="1"/>
          </p:nvPr>
        </p:nvSpPr>
        <p:spPr>
          <a:xfrm>
            <a:off x="359952" y="1829920"/>
            <a:ext cx="7523021" cy="4296996"/>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19382" y="654201"/>
            <a:ext cx="3211275" cy="547151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8A4F6F59-6CB3-4166-9CD8-0F5BCD967261}" type="datetime1">
              <a:rPr lang="en-GB" smtClean="0"/>
              <a:t>04/03/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789" y="6440289"/>
            <a:ext cx="6539183" cy="144033"/>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51" y="654162"/>
            <a:ext cx="7523020" cy="938470"/>
          </a:xfrm>
        </p:spPr>
        <p:txBody>
          <a:bodyPr/>
          <a:lstStyle/>
          <a:p>
            <a:r>
              <a:rPr lang="en-GB" noProof="0"/>
              <a:t>Click to add title</a:t>
            </a:r>
            <a:endParaRPr lang="en-GB"/>
          </a:p>
        </p:txBody>
      </p:sp>
    </p:spTree>
    <p:extLst>
      <p:ext uri="{BB962C8B-B14F-4D97-AF65-F5344CB8AC3E}">
        <p14:creationId xmlns:p14="http://schemas.microsoft.com/office/powerpoint/2010/main" val="702620898"/>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1487" cy="68631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4296936" y="654202"/>
            <a:ext cx="7523021" cy="938430"/>
          </a:xfrm>
        </p:spPr>
        <p:txBody>
          <a:bodyPr/>
          <a:lstStyle/>
          <a:p>
            <a:r>
              <a:rPr lang="en-GB" noProof="0"/>
              <a:t>Click to add title</a:t>
            </a:r>
          </a:p>
        </p:txBody>
      </p:sp>
      <p:sp>
        <p:nvSpPr>
          <p:cNvPr id="3" name="Content Placeholder 2"/>
          <p:cNvSpPr>
            <a:spLocks noGrp="1"/>
          </p:cNvSpPr>
          <p:nvPr>
            <p:ph idx="1" hasCustomPrompt="1"/>
          </p:nvPr>
        </p:nvSpPr>
        <p:spPr>
          <a:xfrm>
            <a:off x="4296936" y="1829920"/>
            <a:ext cx="7523021" cy="4296996"/>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54" y="654201"/>
            <a:ext cx="3211275" cy="547151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6ACCEA19-5171-4127-A28C-C6D875C2D7D4}" type="datetime1">
              <a:rPr lang="en-GB" smtClean="0"/>
              <a:t>04/03/2024</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153" y="6440289"/>
            <a:ext cx="5915517" cy="144033"/>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59954" y="6368828"/>
            <a:ext cx="775602" cy="21549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996963546"/>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444" y="1830199"/>
            <a:ext cx="0" cy="4295794"/>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48926" y="0"/>
            <a:ext cx="3941487" cy="68631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3" name="Content Placeholder 2"/>
          <p:cNvSpPr>
            <a:spLocks noGrp="1"/>
          </p:cNvSpPr>
          <p:nvPr>
            <p:ph idx="1" hasCustomPrompt="1"/>
          </p:nvPr>
        </p:nvSpPr>
        <p:spPr>
          <a:xfrm>
            <a:off x="359951" y="1829920"/>
            <a:ext cx="3588733" cy="4296996"/>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240" y="1829920"/>
            <a:ext cx="3588733" cy="4296996"/>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19382" y="654201"/>
            <a:ext cx="3211275" cy="547151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9AA3F283-0871-412B-8A65-5C27135FA311}" type="datetime1">
              <a:rPr lang="en-GB" smtClean="0"/>
              <a:t>04/03/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789" y="6440289"/>
            <a:ext cx="6539181" cy="144033"/>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51" y="654162"/>
            <a:ext cx="7523018" cy="938470"/>
          </a:xfrm>
        </p:spPr>
        <p:txBody>
          <a:bodyPr/>
          <a:lstStyle/>
          <a:p>
            <a:r>
              <a:rPr lang="en-GB" noProof="0"/>
              <a:t>Click to add title</a:t>
            </a:r>
            <a:endParaRPr lang="en-GB"/>
          </a:p>
        </p:txBody>
      </p:sp>
    </p:spTree>
    <p:extLst>
      <p:ext uri="{BB962C8B-B14F-4D97-AF65-F5344CB8AC3E}">
        <p14:creationId xmlns:p14="http://schemas.microsoft.com/office/powerpoint/2010/main" val="574162775"/>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6932" y="1830199"/>
            <a:ext cx="0" cy="4295794"/>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1487" cy="68631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4301440" y="654202"/>
            <a:ext cx="7523021" cy="938430"/>
          </a:xfrm>
        </p:spPr>
        <p:txBody>
          <a:bodyPr/>
          <a:lstStyle/>
          <a:p>
            <a:r>
              <a:rPr lang="en-GB" noProof="0"/>
              <a:t>Click to add title</a:t>
            </a:r>
          </a:p>
        </p:txBody>
      </p:sp>
      <p:sp>
        <p:nvSpPr>
          <p:cNvPr id="3" name="Content Placeholder 2"/>
          <p:cNvSpPr>
            <a:spLocks noGrp="1"/>
          </p:cNvSpPr>
          <p:nvPr>
            <p:ph idx="1" hasCustomPrompt="1"/>
          </p:nvPr>
        </p:nvSpPr>
        <p:spPr>
          <a:xfrm>
            <a:off x="4301439" y="1829920"/>
            <a:ext cx="3588731" cy="4296996"/>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54" y="654201"/>
            <a:ext cx="3211275" cy="547151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0124" y="1829920"/>
            <a:ext cx="3581535" cy="4296996"/>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A67BCEC0-92C2-4FF9-A782-344903368E13}" type="datetime1">
              <a:rPr lang="en-GB" smtClean="0"/>
              <a:t>04/03/2024</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153" y="6440289"/>
            <a:ext cx="5915517" cy="144033"/>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59954" y="6368828"/>
            <a:ext cx="775602" cy="21549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55366551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1C52AC6E-7F31-46F0-897C-8CA895D525E5}"/>
              </a:ext>
            </a:extLst>
          </p:cNvPr>
          <p:cNvSpPr/>
          <p:nvPr userDrawn="1"/>
        </p:nvSpPr>
        <p:spPr>
          <a:xfrm>
            <a:off x="0" y="0"/>
            <a:ext cx="12190413" cy="685958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GB" noProof="0"/>
          </a:p>
        </p:txBody>
      </p:sp>
      <p:sp>
        <p:nvSpPr>
          <p:cNvPr id="10" name="Title 3">
            <a:extLst>
              <a:ext uri="{FF2B5EF4-FFF2-40B4-BE49-F238E27FC236}">
                <a16:creationId xmlns:a16="http://schemas.microsoft.com/office/drawing/2014/main" id="{12A0CAF9-565B-4643-8539-61D9B882A512}"/>
              </a:ext>
            </a:extLst>
          </p:cNvPr>
          <p:cNvSpPr>
            <a:spLocks noGrp="1"/>
          </p:cNvSpPr>
          <p:nvPr>
            <p:ph type="title"/>
          </p:nvPr>
        </p:nvSpPr>
        <p:spPr>
          <a:xfrm>
            <a:off x="798514" y="453600"/>
            <a:ext cx="10588624" cy="748800"/>
          </a:xfrm>
        </p:spPr>
        <p:txBody>
          <a:bodyPr/>
          <a:lstStyle>
            <a:lvl1pPr>
              <a:defRPr>
                <a:solidFill>
                  <a:schemeClr val="bg1"/>
                </a:solidFill>
              </a:defRPr>
            </a:lvl1pPr>
          </a:lstStyle>
          <a:p>
            <a:r>
              <a:rPr lang="en-GB"/>
              <a:t>Click to edit Master title style</a:t>
            </a:r>
          </a:p>
        </p:txBody>
      </p:sp>
      <p:sp>
        <p:nvSpPr>
          <p:cNvPr id="5" name="Text Placeholder 4">
            <a:extLst>
              <a:ext uri="{FF2B5EF4-FFF2-40B4-BE49-F238E27FC236}">
                <a16:creationId xmlns:a16="http://schemas.microsoft.com/office/drawing/2014/main" id="{86D6618B-DF84-4E96-B2FD-7B59D5717CEB}"/>
              </a:ext>
            </a:extLst>
          </p:cNvPr>
          <p:cNvSpPr>
            <a:spLocks noGrp="1"/>
          </p:cNvSpPr>
          <p:nvPr>
            <p:ph type="body" sz="quarter" idx="13" hasCustomPrompt="1"/>
          </p:nvPr>
        </p:nvSpPr>
        <p:spPr>
          <a:xfrm>
            <a:off x="798513" y="1633538"/>
            <a:ext cx="10588625" cy="4087812"/>
          </a:xfrm>
        </p:spPr>
        <p:txBody>
          <a:bodyPr/>
          <a:lstStyle>
            <a:lvl1pPr marL="361950" indent="-361950">
              <a:buFont typeface="+mj-lt"/>
              <a:buAutoNum type="arabicPeriod"/>
              <a:defRPr sz="1400" b="1" cap="all" baseline="0">
                <a:solidFill>
                  <a:schemeClr val="bg1"/>
                </a:solidFill>
              </a:defRPr>
            </a:lvl1pPr>
            <a:lvl2pPr marL="627063" indent="-265113">
              <a:defRPr sz="1400" b="1" cap="all" baseline="0">
                <a:solidFill>
                  <a:schemeClr val="bg1"/>
                </a:solidFill>
              </a:defRPr>
            </a:lvl2pPr>
            <a:lvl3pPr>
              <a:defRPr b="1" cap="all" baseline="0">
                <a:solidFill>
                  <a:schemeClr val="bg1"/>
                </a:solidFill>
              </a:defRPr>
            </a:lvl3pPr>
            <a:lvl4pPr>
              <a:defRPr b="1" cap="all" baseline="0">
                <a:solidFill>
                  <a:schemeClr val="bg1"/>
                </a:solidFill>
              </a:defRPr>
            </a:lvl4pPr>
            <a:lvl5pPr>
              <a:defRPr b="1" cap="all" baseline="0">
                <a:solidFill>
                  <a:schemeClr val="bg1"/>
                </a:solidFill>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4" name="Freeform 5">
            <a:extLst>
              <a:ext uri="{FF2B5EF4-FFF2-40B4-BE49-F238E27FC236}">
                <a16:creationId xmlns:a16="http://schemas.microsoft.com/office/drawing/2014/main" id="{428454B1-AE1A-41EC-AD14-E0008864B561}"/>
              </a:ext>
            </a:extLst>
          </p:cNvPr>
          <p:cNvSpPr>
            <a:spLocks noEditPoints="1"/>
          </p:cNvSpPr>
          <p:nvPr userDrawn="1"/>
        </p:nvSpPr>
        <p:spPr bwMode="auto">
          <a:xfrm>
            <a:off x="798513" y="6159600"/>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5" name="Footer Placeholder 4">
            <a:extLst>
              <a:ext uri="{FF2B5EF4-FFF2-40B4-BE49-F238E27FC236}">
                <a16:creationId xmlns:a16="http://schemas.microsoft.com/office/drawing/2014/main" id="{3023EA8A-7243-49C8-8C39-DC7F2EDABC60}"/>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a:p>
        </p:txBody>
      </p:sp>
      <p:sp>
        <p:nvSpPr>
          <p:cNvPr id="17" name="Date_DateCustomA">
            <a:extLst>
              <a:ext uri="{FF2B5EF4-FFF2-40B4-BE49-F238E27FC236}">
                <a16:creationId xmlns:a16="http://schemas.microsoft.com/office/drawing/2014/main" id="{0BFC8F03-4431-41CF-AF1F-ECDA545293A4}"/>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CD4A6F46-B6F7-4994-AAE4-379699F66888}" type="datetime1">
              <a:rPr lang="en-GB" smtClean="0"/>
              <a:t>04/03/2024</a:t>
            </a:fld>
            <a:endParaRPr lang="en-GB"/>
          </a:p>
        </p:txBody>
      </p:sp>
    </p:spTree>
    <p:extLst>
      <p:ext uri="{BB962C8B-B14F-4D97-AF65-F5344CB8AC3E}">
        <p14:creationId xmlns:p14="http://schemas.microsoft.com/office/powerpoint/2010/main" val="131220358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48926" y="0"/>
            <a:ext cx="3941487" cy="6863189"/>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359952" y="654202"/>
            <a:ext cx="7523021" cy="938430"/>
          </a:xfrm>
        </p:spPr>
        <p:txBody>
          <a:bodyPr/>
          <a:lstStyle/>
          <a:p>
            <a:r>
              <a:rPr lang="en-GB" noProof="0"/>
              <a:t>Click to add title</a:t>
            </a:r>
          </a:p>
        </p:txBody>
      </p:sp>
      <p:sp>
        <p:nvSpPr>
          <p:cNvPr id="3" name="Content Placeholder 2"/>
          <p:cNvSpPr>
            <a:spLocks noGrp="1"/>
          </p:cNvSpPr>
          <p:nvPr>
            <p:ph idx="1" hasCustomPrompt="1"/>
          </p:nvPr>
        </p:nvSpPr>
        <p:spPr>
          <a:xfrm>
            <a:off x="359952" y="1829920"/>
            <a:ext cx="7523021" cy="4296996"/>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19382" y="654201"/>
            <a:ext cx="3211275" cy="5471513"/>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314D1594-E68D-46B5-98E0-BADEBF2D8E2F}" type="datetime1">
              <a:rPr lang="en-GB" smtClean="0"/>
              <a:t>04/03/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788" y="6440289"/>
            <a:ext cx="6540349" cy="144033"/>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502322527"/>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1487" cy="6863189"/>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4296936" y="654202"/>
            <a:ext cx="7523021" cy="938430"/>
          </a:xfrm>
        </p:spPr>
        <p:txBody>
          <a:bodyPr/>
          <a:lstStyle/>
          <a:p>
            <a:r>
              <a:rPr lang="en-GB" noProof="0"/>
              <a:t>Click to add title</a:t>
            </a:r>
          </a:p>
        </p:txBody>
      </p:sp>
      <p:sp>
        <p:nvSpPr>
          <p:cNvPr id="3" name="Content Placeholder 2"/>
          <p:cNvSpPr>
            <a:spLocks noGrp="1"/>
          </p:cNvSpPr>
          <p:nvPr>
            <p:ph idx="1" hasCustomPrompt="1"/>
          </p:nvPr>
        </p:nvSpPr>
        <p:spPr>
          <a:xfrm>
            <a:off x="4296936" y="1829920"/>
            <a:ext cx="7523021" cy="4296996"/>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54" y="654201"/>
            <a:ext cx="3211275" cy="5471513"/>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265A58E6-12DB-4BF0-8165-AE5E60E9367A}" type="datetime1">
              <a:rPr lang="en-GB" smtClean="0"/>
              <a:t>04/03/2024</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153" y="6440289"/>
            <a:ext cx="5915517" cy="144033"/>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59954" y="6368828"/>
            <a:ext cx="775602" cy="21549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2793307938"/>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48926" y="0"/>
            <a:ext cx="3941487" cy="68631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359952" y="654202"/>
            <a:ext cx="7523021" cy="938430"/>
          </a:xfrm>
        </p:spPr>
        <p:txBody>
          <a:bodyPr/>
          <a:lstStyle/>
          <a:p>
            <a:r>
              <a:rPr lang="en-GB" noProof="0"/>
              <a:t>Click to add title</a:t>
            </a:r>
          </a:p>
        </p:txBody>
      </p:sp>
      <p:sp>
        <p:nvSpPr>
          <p:cNvPr id="3" name="Content Placeholder 2"/>
          <p:cNvSpPr>
            <a:spLocks noGrp="1"/>
          </p:cNvSpPr>
          <p:nvPr>
            <p:ph idx="1" hasCustomPrompt="1"/>
          </p:nvPr>
        </p:nvSpPr>
        <p:spPr>
          <a:xfrm>
            <a:off x="359952" y="1829920"/>
            <a:ext cx="7523021" cy="4296996"/>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19382" y="654201"/>
            <a:ext cx="3211275" cy="547151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904988D6-6DD0-4C39-8AE1-A7E25B5D1BF4}" type="datetime1">
              <a:rPr lang="en-GB" smtClean="0"/>
              <a:t>04/03/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788" y="6440289"/>
            <a:ext cx="6540349" cy="144033"/>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660054192"/>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38797" y="0"/>
            <a:ext cx="2951616" cy="68631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359952" y="654202"/>
            <a:ext cx="8512892" cy="938430"/>
          </a:xfrm>
        </p:spPr>
        <p:txBody>
          <a:bodyPr/>
          <a:lstStyle/>
          <a:p>
            <a:r>
              <a:rPr lang="en-GB" noProof="0"/>
              <a:t>Click to add title</a:t>
            </a:r>
          </a:p>
        </p:txBody>
      </p:sp>
      <p:sp>
        <p:nvSpPr>
          <p:cNvPr id="3" name="Content Placeholder 2"/>
          <p:cNvSpPr>
            <a:spLocks noGrp="1"/>
          </p:cNvSpPr>
          <p:nvPr>
            <p:ph idx="1" hasCustomPrompt="1"/>
          </p:nvPr>
        </p:nvSpPr>
        <p:spPr>
          <a:xfrm>
            <a:off x="359952" y="1829920"/>
            <a:ext cx="4099866" cy="4296996"/>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4751" y="654201"/>
            <a:ext cx="2225347" cy="547151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DC7F6929-E9B5-46A3-B5E9-6150C85426CE}" type="datetime1">
              <a:rPr lang="en-GB" smtClean="0"/>
              <a:t>04/03/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790" y="6440289"/>
            <a:ext cx="7527591" cy="144033"/>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2978" y="1829920"/>
            <a:ext cx="4099866" cy="4296996"/>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6620" y="1830199"/>
            <a:ext cx="0" cy="4295794"/>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86216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48926" y="0"/>
            <a:ext cx="3941487" cy="68631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359952" y="654202"/>
            <a:ext cx="7523021" cy="938430"/>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19382" y="654201"/>
            <a:ext cx="3211275" cy="5471513"/>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59FA29BE-106E-4609-97DE-EDE0B0C087F7}" type="datetime1">
              <a:rPr lang="en-GB" smtClean="0"/>
              <a:t>04/03/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788" y="6440289"/>
            <a:ext cx="6540349" cy="144033"/>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29" y="1829920"/>
            <a:ext cx="7524244" cy="4296996"/>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2474620005"/>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38797" y="0"/>
            <a:ext cx="2951616" cy="68631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359952" y="654202"/>
            <a:ext cx="8512892" cy="938430"/>
          </a:xfrm>
        </p:spPr>
        <p:txBody>
          <a:bodyPr/>
          <a:lstStyle/>
          <a:p>
            <a:r>
              <a:rPr lang="en-GB" noProof="0"/>
              <a:t>Click to add title</a:t>
            </a:r>
          </a:p>
        </p:txBody>
      </p:sp>
      <p:sp>
        <p:nvSpPr>
          <p:cNvPr id="3" name="Content Placeholder 2"/>
          <p:cNvSpPr>
            <a:spLocks noGrp="1"/>
          </p:cNvSpPr>
          <p:nvPr>
            <p:ph idx="1" hasCustomPrompt="1"/>
          </p:nvPr>
        </p:nvSpPr>
        <p:spPr>
          <a:xfrm>
            <a:off x="359952" y="1829920"/>
            <a:ext cx="4099866" cy="4296996"/>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4751" y="654201"/>
            <a:ext cx="2225347" cy="5471513"/>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3EFAF684-C611-4113-B7D5-C3E527F22C4F}" type="datetime1">
              <a:rPr lang="en-GB" smtClean="0"/>
              <a:t>04/03/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788" y="6440289"/>
            <a:ext cx="7526620" cy="144033"/>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2978" y="1829920"/>
            <a:ext cx="4099866" cy="4296996"/>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6620" y="1830199"/>
            <a:ext cx="0" cy="4295794"/>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4830644"/>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9588"/>
            <a:ext cx="0" cy="0"/>
          </a:xfrm>
        </p:spPr>
        <p:txBody>
          <a:bodyPr/>
          <a:lstStyle>
            <a:lvl1pPr>
              <a:defRPr sz="100">
                <a:noFill/>
              </a:defRPr>
            </a:lvl1pPr>
          </a:lstStyle>
          <a:p>
            <a:fld id="{C4B04AE4-03BB-4174-AD21-7567A4C959F4}" type="datetime1">
              <a:rPr lang="en-GB" smtClean="0"/>
              <a:t>04/03/2024</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9588"/>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52" y="654202"/>
            <a:ext cx="7523021" cy="938430"/>
          </a:xfrm>
        </p:spPr>
        <p:txBody>
          <a:bodyPr/>
          <a:lstStyle/>
          <a:p>
            <a:r>
              <a:rPr lang="en-GB" noProof="0"/>
              <a:t>Click to add title</a:t>
            </a:r>
          </a:p>
        </p:txBody>
      </p:sp>
      <p:sp>
        <p:nvSpPr>
          <p:cNvPr id="3" name="Content Placeholder 2"/>
          <p:cNvSpPr>
            <a:spLocks noGrp="1"/>
          </p:cNvSpPr>
          <p:nvPr>
            <p:ph idx="1" hasCustomPrompt="1"/>
          </p:nvPr>
        </p:nvSpPr>
        <p:spPr>
          <a:xfrm>
            <a:off x="359953" y="1829920"/>
            <a:ext cx="7523021" cy="4296996"/>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48926" y="0"/>
            <a:ext cx="3941487" cy="6859588"/>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789" y="6440289"/>
            <a:ext cx="6541885" cy="144033"/>
          </a:xfrm>
        </p:spPr>
        <p:txBody>
          <a:bodyPr/>
          <a:lstStyle/>
          <a:p>
            <a:endParaRPr lang="en-GB"/>
          </a:p>
        </p:txBody>
      </p:sp>
    </p:spTree>
    <p:extLst>
      <p:ext uri="{BB962C8B-B14F-4D97-AF65-F5344CB8AC3E}">
        <p14:creationId xmlns:p14="http://schemas.microsoft.com/office/powerpoint/2010/main" val="1845920254"/>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1487" cy="6859588"/>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6936" y="654201"/>
            <a:ext cx="7523021" cy="936217"/>
          </a:xfrm>
        </p:spPr>
        <p:txBody>
          <a:bodyPr/>
          <a:lstStyle/>
          <a:p>
            <a:r>
              <a:rPr lang="en-GB" noProof="0"/>
              <a:t>Click to add title</a:t>
            </a:r>
          </a:p>
        </p:txBody>
      </p:sp>
      <p:sp>
        <p:nvSpPr>
          <p:cNvPr id="3" name="Content Placeholder 2"/>
          <p:cNvSpPr>
            <a:spLocks noGrp="1"/>
          </p:cNvSpPr>
          <p:nvPr>
            <p:ph idx="1" hasCustomPrompt="1"/>
          </p:nvPr>
        </p:nvSpPr>
        <p:spPr>
          <a:xfrm>
            <a:off x="4296936" y="1829920"/>
            <a:ext cx="7523021" cy="4296996"/>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3A46E679-721E-4A44-A034-B3833441D488}" type="datetime1">
              <a:rPr lang="en-GB" smtClean="0"/>
              <a:t>04/03/2024</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153" y="6440289"/>
            <a:ext cx="5915517" cy="144033"/>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590505054"/>
      </p:ext>
    </p:extLst>
  </p:cSld>
  <p:clrMapOvr>
    <a:masterClrMapping/>
  </p:clrMapOvr>
  <p:extLst>
    <p:ext uri="{DCECCB84-F9BA-43D5-87BE-67443E8EF086}">
      <p15:sldGuideLst xmlns:p15="http://schemas.microsoft.com/office/powerpoint/2012/main">
        <p15:guide id="1" pos="2708" userDrawn="1">
          <p15:clr>
            <a:srgbClr val="FBAE40"/>
          </p15:clr>
        </p15:guide>
        <p15:guide id="2" pos="2487"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9588"/>
            <a:ext cx="0" cy="0"/>
          </a:xfrm>
        </p:spPr>
        <p:txBody>
          <a:bodyPr/>
          <a:lstStyle>
            <a:lvl1pPr>
              <a:defRPr sz="100">
                <a:noFill/>
              </a:defRPr>
            </a:lvl1pPr>
          </a:lstStyle>
          <a:p>
            <a:fld id="{F6C1ADEE-7B52-423A-9878-0398FEFAF71F}" type="datetime1">
              <a:rPr lang="en-GB" smtClean="0"/>
              <a:t>04/03/2024</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9588"/>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111" y="0"/>
            <a:ext cx="6900302" cy="6859588"/>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59953" y="654202"/>
            <a:ext cx="4573179" cy="2349992"/>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59953" y="3353577"/>
            <a:ext cx="4573179" cy="2773339"/>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788" y="6362517"/>
            <a:ext cx="3587569" cy="221806"/>
          </a:xfrm>
        </p:spPr>
        <p:txBody>
          <a:bodyPr/>
          <a:lstStyle/>
          <a:p>
            <a:endParaRPr lang="en-GB"/>
          </a:p>
        </p:txBody>
      </p:sp>
    </p:spTree>
    <p:extLst>
      <p:ext uri="{BB962C8B-B14F-4D97-AF65-F5344CB8AC3E}">
        <p14:creationId xmlns:p14="http://schemas.microsoft.com/office/powerpoint/2010/main" val="2475563379"/>
      </p:ext>
    </p:extLst>
  </p:cSld>
  <p:clrMapOvr>
    <a:masterClrMapping/>
  </p:clrMapOvr>
  <p:extLst>
    <p:ext uri="{DCECCB84-F9BA-43D5-87BE-67443E8EF086}">
      <p15:sldGuideLst xmlns:p15="http://schemas.microsoft.com/office/powerpoint/2012/main">
        <p15:guide id="1" pos="3329" userDrawn="1">
          <p15:clr>
            <a:srgbClr val="FBAE40"/>
          </p15:clr>
        </p15:guide>
        <p15:guide id="2" pos="3112"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7758" cy="6859588"/>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067" y="654202"/>
            <a:ext cx="6530891" cy="2349992"/>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067" y="3353577"/>
            <a:ext cx="6530891" cy="2773339"/>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3FD627AC-F023-4E38-BBE2-8CC6A4B15F9B}" type="datetime1">
              <a:rPr lang="en-GB" smtClean="0"/>
              <a:t>04/03/2024</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067" y="6440289"/>
            <a:ext cx="4929603" cy="144033"/>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2368981122"/>
      </p:ext>
    </p:extLst>
  </p:cSld>
  <p:clrMapOvr>
    <a:masterClrMapping/>
  </p:clrMapOvr>
  <p:extLst>
    <p:ext uri="{DCECCB84-F9BA-43D5-87BE-67443E8EF086}">
      <p15:sldGuideLst xmlns:p15="http://schemas.microsoft.com/office/powerpoint/2012/main">
        <p15:guide id="1" pos="3329" userDrawn="1">
          <p15:clr>
            <a:srgbClr val="FBAE40"/>
          </p15:clr>
        </p15:guide>
        <p15:guide id="2" pos="310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8DBAD0C-7FB6-4652-87AA-A678753BF180}"/>
              </a:ext>
            </a:extLst>
          </p:cNvPr>
          <p:cNvSpPr>
            <a:spLocks noGrp="1"/>
          </p:cNvSpPr>
          <p:nvPr>
            <p:ph type="title"/>
          </p:nvPr>
        </p:nvSpPr>
        <p:spPr>
          <a:xfrm>
            <a:off x="798514" y="453600"/>
            <a:ext cx="10588624" cy="748800"/>
          </a:xfrm>
        </p:spPr>
        <p:txBody>
          <a:bodyPr/>
          <a:lstStyle/>
          <a:p>
            <a:r>
              <a:rPr lang="en-GB"/>
              <a:t>Click to edit Master title style</a:t>
            </a:r>
          </a:p>
        </p:txBody>
      </p:sp>
      <p:sp>
        <p:nvSpPr>
          <p:cNvPr id="3" name="Content Placeholder 2"/>
          <p:cNvSpPr>
            <a:spLocks noGrp="1"/>
          </p:cNvSpPr>
          <p:nvPr>
            <p:ph idx="1" hasCustomPrompt="1"/>
          </p:nvPr>
        </p:nvSpPr>
        <p:spPr>
          <a:xfrm>
            <a:off x="798512" y="1645033"/>
            <a:ext cx="10588625"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5" name="Footer Placeholder 4">
            <a:extLst>
              <a:ext uri="{FF2B5EF4-FFF2-40B4-BE49-F238E27FC236}">
                <a16:creationId xmlns:a16="http://schemas.microsoft.com/office/drawing/2014/main" id="{C5FF0F6B-AA6E-4B16-90F1-26987BBE96AA}"/>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7" name="Date_DateCustomA">
            <a:extLst>
              <a:ext uri="{FF2B5EF4-FFF2-40B4-BE49-F238E27FC236}">
                <a16:creationId xmlns:a16="http://schemas.microsoft.com/office/drawing/2014/main" id="{FDCD1E09-F97D-49B0-8DE9-0E701EFB5FBE}"/>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3B98ADA4-E8FA-45D8-A667-5B7FA1A67187}" type="datetime1">
              <a:rPr lang="en-GB" smtClean="0"/>
              <a:t>04/03/2024</a:t>
            </a:fld>
            <a:endParaRPr lang="en-GB"/>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9588"/>
            <a:ext cx="0" cy="0"/>
          </a:xfrm>
        </p:spPr>
        <p:txBody>
          <a:bodyPr/>
          <a:lstStyle>
            <a:lvl1pPr>
              <a:defRPr sz="100">
                <a:noFill/>
              </a:defRPr>
            </a:lvl1pPr>
          </a:lstStyle>
          <a:p>
            <a:fld id="{791AE312-9C38-4B88-A1BD-03872F0FCB4A}" type="datetime1">
              <a:rPr lang="en-GB" smtClean="0"/>
              <a:t>04/03/2024</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9588"/>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0302" cy="68631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0300" y="0"/>
            <a:ext cx="5290112" cy="6859588"/>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59953" y="654202"/>
            <a:ext cx="6183995" cy="2349992"/>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59953" y="3353577"/>
            <a:ext cx="6183995" cy="27733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789" y="6368828"/>
            <a:ext cx="5197758" cy="21549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59954" y="6368828"/>
            <a:ext cx="775602" cy="21549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751567655"/>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9588"/>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1" y="0"/>
            <a:ext cx="5290112" cy="6859588"/>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111" y="0"/>
            <a:ext cx="6900302" cy="68631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5650066" y="654202"/>
            <a:ext cx="6183995" cy="2349992"/>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066" y="3353577"/>
            <a:ext cx="6183995" cy="27733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B28D1D58-AB37-4343-ADE9-EEBE954DF792}" type="datetime1">
              <a:rPr lang="en-GB" smtClean="0"/>
              <a:t>04/03/2024</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4097920717"/>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0302" cy="68631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7257280" y="654202"/>
            <a:ext cx="4562678" cy="2349992"/>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7280" y="3353577"/>
            <a:ext cx="4562678" cy="2773339"/>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59953" y="654201"/>
            <a:ext cx="6183367" cy="547151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06093368-26E3-4532-8FD8-7B783022E688}" type="datetime1">
              <a:rPr lang="en-GB" smtClean="0"/>
              <a:t>04/03/2024</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789" y="6440289"/>
            <a:ext cx="5199532" cy="144033"/>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59954" y="6368828"/>
            <a:ext cx="775602" cy="21549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6330856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153" cy="68631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359953" y="654202"/>
            <a:ext cx="3584507" cy="117571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59953" y="3352376"/>
            <a:ext cx="3584507" cy="277264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390" y="654201"/>
            <a:ext cx="7169071" cy="5471513"/>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851E3A26-CACC-472F-999E-6CEDC51DAFFB}" type="datetime1">
              <a:rPr lang="en-GB" smtClean="0"/>
              <a:t>04/03/2024</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389" y="6440289"/>
            <a:ext cx="5557280" cy="144033"/>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59954" y="6368828"/>
            <a:ext cx="775602" cy="21549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914093151"/>
      </p:ext>
    </p:extLst>
  </p:cSld>
  <p:clrMapOvr>
    <a:masterClrMapping/>
  </p:clrMapOvr>
  <p:extLst>
    <p:ext uri="{DCECCB84-F9BA-43D5-87BE-67443E8EF086}">
      <p15:sldGuideLst xmlns:p15="http://schemas.microsoft.com/office/powerpoint/2012/main">
        <p15:guide id="1" pos="2934" userDrawn="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1" y="0"/>
            <a:ext cx="5290112" cy="6859588"/>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111" y="0"/>
            <a:ext cx="6900302" cy="68631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5647664" y="654202"/>
            <a:ext cx="6183995" cy="2349993"/>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7664" y="3353577"/>
            <a:ext cx="6183995" cy="2773339"/>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923212C7-A548-4370-9C24-272889F12011}" type="datetime1">
              <a:rPr lang="en-GB" smtClean="0"/>
              <a:t>04/03/2024</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7664" y="6440289"/>
            <a:ext cx="4571006" cy="144033"/>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409627768"/>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1440" cy="68631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359953" y="654202"/>
            <a:ext cx="3584507" cy="117571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59953" y="3352376"/>
            <a:ext cx="3584507" cy="2772642"/>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390" y="654201"/>
            <a:ext cx="7169071" cy="5471513"/>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3393CB94-5BA6-4B5C-8025-21D6F4E52D5E}" type="datetime1">
              <a:rPr lang="en-GB" smtClean="0"/>
              <a:t>04/03/2024</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119" y="6440289"/>
            <a:ext cx="5561551" cy="144033"/>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59954" y="6368828"/>
            <a:ext cx="775602" cy="21549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959807195"/>
      </p:ext>
    </p:extLst>
  </p:cSld>
  <p:clrMapOvr>
    <a:masterClrMapping/>
  </p:clrMapOvr>
  <p:extLst>
    <p:ext uri="{DCECCB84-F9BA-43D5-87BE-67443E8EF086}">
      <p15:sldGuideLst xmlns:p15="http://schemas.microsoft.com/office/powerpoint/2012/main">
        <p15:guide id="1" pos="2934"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2701" cy="6859588"/>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2701" y="0"/>
            <a:ext cx="5287712" cy="68631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bwMode="white">
          <a:xfrm>
            <a:off x="7259367" y="654202"/>
            <a:ext cx="4574694" cy="2349992"/>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59367" y="3353577"/>
            <a:ext cx="4574694" cy="27733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29D73515-F0A6-4B30-A688-5D4CF44B9186}" type="datetime1">
              <a:rPr lang="en-GB" smtClean="0"/>
              <a:t>04/03/2024</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0280" y="6368828"/>
            <a:ext cx="2957128" cy="21549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766435223"/>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1440" cy="68631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bwMode="white">
          <a:xfrm>
            <a:off x="359953" y="654202"/>
            <a:ext cx="3584507" cy="213726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59953" y="3353577"/>
            <a:ext cx="3584507" cy="27733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390" y="654201"/>
            <a:ext cx="7169071" cy="5471513"/>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B6F065B1-CCC8-4072-99B6-C71232109F4F}" type="datetime1">
              <a:rPr lang="en-GB" smtClean="0"/>
              <a:t>04/03/2024</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119" y="6440289"/>
            <a:ext cx="5561551" cy="144033"/>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59954" y="6368828"/>
            <a:ext cx="775602" cy="21549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083077099"/>
      </p:ext>
    </p:extLst>
  </p:cSld>
  <p:clrMapOvr>
    <a:masterClrMapping/>
  </p:clrMapOvr>
  <p:extLst>
    <p:ext uri="{DCECCB84-F9BA-43D5-87BE-67443E8EF086}">
      <p15:sldGuideLst xmlns:p15="http://schemas.microsoft.com/office/powerpoint/2012/main">
        <p15:guide id="1" pos="2934" userDrawn="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2701" cy="6859588"/>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2701" y="0"/>
            <a:ext cx="5287712" cy="68631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7259367" y="654202"/>
            <a:ext cx="4574694" cy="2349992"/>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59367" y="3353577"/>
            <a:ext cx="4574694" cy="2773339"/>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4C0216E3-463B-4CB8-BE43-497F498BEEEE}" type="datetime1">
              <a:rPr lang="en-GB" smtClean="0"/>
              <a:t>04/03/2024</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2344" y="6368828"/>
            <a:ext cx="2965064" cy="21549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4792959"/>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1440" cy="68631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359953" y="654202"/>
            <a:ext cx="3584507" cy="2137269"/>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59953" y="3353577"/>
            <a:ext cx="3584507" cy="2773339"/>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390" y="654203"/>
            <a:ext cx="7169071" cy="5471512"/>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49EE3078-35F5-4450-8DDB-1711F663AF0B}" type="datetime1">
              <a:rPr lang="en-GB" smtClean="0"/>
              <a:t>04/03/2024</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390" y="6440289"/>
            <a:ext cx="5557280" cy="144033"/>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59954" y="6368828"/>
            <a:ext cx="775602" cy="21549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2217327958"/>
      </p:ext>
    </p:extLst>
  </p:cSld>
  <p:clrMapOvr>
    <a:masterClrMapping/>
  </p:clrMapOvr>
  <p:extLst>
    <p:ext uri="{DCECCB84-F9BA-43D5-87BE-67443E8EF086}">
      <p15:sldGuideLst xmlns:p15="http://schemas.microsoft.com/office/powerpoint/2012/main">
        <p15:guide id="1" pos="293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GB"/>
              <a:t>Click to edit Master title style</a:t>
            </a:r>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513" y="1645033"/>
            <a:ext cx="4886325"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49478155-5C9E-4D4A-AA75-125DF35A1CB8}"/>
              </a:ext>
            </a:extLst>
          </p:cNvPr>
          <p:cNvSpPr>
            <a:spLocks noGrp="1"/>
          </p:cNvSpPr>
          <p:nvPr>
            <p:ph sz="quarter" idx="16"/>
          </p:nvPr>
        </p:nvSpPr>
        <p:spPr>
          <a:xfrm>
            <a:off x="6499224" y="1645032"/>
            <a:ext cx="4887913" cy="406335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1B842E0E-6D91-4141-882C-6C91050C6F25}"/>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8" name="Date_DateCustomA">
            <a:extLst>
              <a:ext uri="{FF2B5EF4-FFF2-40B4-BE49-F238E27FC236}">
                <a16:creationId xmlns:a16="http://schemas.microsoft.com/office/drawing/2014/main" id="{C64885CE-5A72-464C-A675-4AEA666E3E68}"/>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851C8650-3279-4A76-90A4-98B51440301C}" type="datetime1">
              <a:rPr lang="en-GB" smtClean="0"/>
              <a:t>04/03/2024</a:t>
            </a:fld>
            <a:endParaRPr lang="en-GB"/>
          </a:p>
        </p:txBody>
      </p:sp>
    </p:spTree>
    <p:extLst>
      <p:ext uri="{BB962C8B-B14F-4D97-AF65-F5344CB8AC3E}">
        <p14:creationId xmlns:p14="http://schemas.microsoft.com/office/powerpoint/2010/main" val="16010832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9588"/>
            <a:ext cx="0" cy="0"/>
          </a:xfrm>
        </p:spPr>
        <p:txBody>
          <a:bodyPr/>
          <a:lstStyle>
            <a:lvl1pPr>
              <a:defRPr sz="100">
                <a:noFill/>
              </a:defRPr>
            </a:lvl1pPr>
          </a:lstStyle>
          <a:p>
            <a:fld id="{87CEE0B2-D606-4C87-BD16-18AC95AF549F}" type="datetime1">
              <a:rPr lang="en-GB" smtClean="0"/>
              <a:t>04/03/2024</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9588"/>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9588"/>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1613" cy="68631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0413" cy="6859588"/>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31974764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1613" cy="68631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ctrTitle" hasCustomPrompt="1"/>
          </p:nvPr>
        </p:nvSpPr>
        <p:spPr bwMode="white">
          <a:xfrm>
            <a:off x="1349825" y="1122623"/>
            <a:ext cx="8508855" cy="1985091"/>
          </a:xfrm>
        </p:spPr>
        <p:txBody>
          <a:bodyPr anchor="b"/>
          <a:lstStyle>
            <a:lvl1pPr algn="l">
              <a:defRPr sz="5999">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49824" y="3504529"/>
            <a:ext cx="3939037" cy="1152267"/>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075B1503-1805-4DC5-AF6E-FDE48DB177B4}" type="datetime1">
              <a:rPr lang="en-GB" smtClean="0"/>
              <a:t>04/03/2024</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59954" y="6368828"/>
            <a:ext cx="775602" cy="21549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1480811344"/>
      </p:ext>
    </p:extLst>
  </p:cSld>
  <p:clrMapOvr>
    <a:overrideClrMapping bg1="dk1" tx1="lt1" bg2="dk2" tx2="lt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1613" cy="68631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ctrTitle" hasCustomPrompt="1"/>
          </p:nvPr>
        </p:nvSpPr>
        <p:spPr bwMode="white">
          <a:xfrm>
            <a:off x="1349825" y="1122623"/>
            <a:ext cx="8508855" cy="1985091"/>
          </a:xfrm>
        </p:spPr>
        <p:txBody>
          <a:bodyPr anchor="b"/>
          <a:lstStyle>
            <a:lvl1pPr algn="l">
              <a:defRPr sz="5999">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49824" y="3504529"/>
            <a:ext cx="3939037" cy="1152267"/>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F24941B2-5F7F-4165-B2DE-D010B7A4A5F5}" type="datetime1">
              <a:rPr lang="en-GB" smtClean="0"/>
              <a:t>04/03/2024</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59954" y="6368828"/>
            <a:ext cx="775602" cy="21549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4004401256"/>
      </p:ext>
    </p:extLst>
  </p:cSld>
  <p:clrMapOvr>
    <a:overrideClrMapping bg1="dk1" tx1="lt1" bg2="dk2" tx2="lt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1613" cy="68631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ctrTitle" hasCustomPrompt="1"/>
          </p:nvPr>
        </p:nvSpPr>
        <p:spPr>
          <a:xfrm>
            <a:off x="1349825" y="1122623"/>
            <a:ext cx="8508855" cy="1985091"/>
          </a:xfrm>
        </p:spPr>
        <p:txBody>
          <a:bodyPr anchor="b"/>
          <a:lstStyle>
            <a:lvl1pPr algn="l">
              <a:defRPr sz="5999">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49824" y="3504529"/>
            <a:ext cx="3939037" cy="1152267"/>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E373EE1C-D19B-4EA0-9A15-DED1DEE449B9}" type="datetime1">
              <a:rPr lang="en-GB" smtClean="0"/>
              <a:t>04/03/2024</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59954" y="6368828"/>
            <a:ext cx="775602" cy="21549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709031245"/>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9588"/>
            <a:ext cx="0" cy="0"/>
          </a:xfrm>
        </p:spPr>
        <p:txBody>
          <a:bodyPr/>
          <a:lstStyle>
            <a:lvl1pPr>
              <a:defRPr sz="100">
                <a:noFill/>
              </a:defRPr>
            </a:lvl1pPr>
          </a:lstStyle>
          <a:p>
            <a:fld id="{1466C188-1D45-4F08-8DB4-23F6002C2B91}" type="datetime1">
              <a:rPr lang="en-GB" smtClean="0"/>
              <a:t>04/03/2024</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9588"/>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9588"/>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1613" cy="6859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1613" cy="6859588"/>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49825" y="1122623"/>
            <a:ext cx="8508855" cy="1985091"/>
          </a:xfrm>
        </p:spPr>
        <p:txBody>
          <a:bodyPr anchor="b"/>
          <a:lstStyle>
            <a:lvl1pPr algn="l">
              <a:defRPr sz="5999">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49824" y="3504529"/>
            <a:ext cx="3939037" cy="1152267"/>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223604310"/>
      </p:ext>
    </p:extLst>
  </p:cSld>
  <p:clrMapOvr>
    <a:overrideClrMapping bg1="lt1" tx1="dk1" bg2="lt2" tx2="dk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7494C8F4-6B6A-48C1-B023-792B6BA54AED}" type="datetime1">
              <a:rPr lang="en-GB" smtClean="0"/>
              <a:t>04/03/2024</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99078390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8C247F8E-8C20-40E4-A53C-3DA358D8C9A7}" type="datetime1">
              <a:rPr lang="en-GB" smtClean="0"/>
              <a:t>04/03/2024</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95485266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9588"/>
            <a:ext cx="0" cy="0"/>
          </a:xfrm>
          <a:prstGeom prst="rect">
            <a:avLst/>
          </a:prstGeom>
        </p:spPr>
        <p:txBody>
          <a:bodyPr vert="horz" lIns="0" tIns="0" rIns="0" bIns="0" rtlCol="0" anchor="b" anchorCtr="0"/>
          <a:lstStyle>
            <a:lvl1pPr algn="l">
              <a:defRPr sz="100">
                <a:noFill/>
              </a:defRPr>
            </a:lvl1pPr>
          </a:lstStyle>
          <a:p>
            <a:fld id="{8E8C12B2-0AE5-428E-985F-E18D4DA17AC7}" type="datetime1">
              <a:rPr lang="en-GB" smtClean="0"/>
              <a:t>04/03/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9588"/>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9588"/>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1613" cy="68631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ctrTitle" hasCustomPrompt="1"/>
          </p:nvPr>
        </p:nvSpPr>
        <p:spPr bwMode="white">
          <a:xfrm>
            <a:off x="359953" y="654202"/>
            <a:ext cx="11470145" cy="938430"/>
          </a:xfrm>
        </p:spPr>
        <p:txBody>
          <a:bodyPr anchor="t" anchorCtr="0"/>
          <a:lstStyle>
            <a:lvl1pPr algn="l">
              <a:defRPr sz="5999">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52" y="1829224"/>
            <a:ext cx="4319438" cy="56238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9953" y="5880225"/>
            <a:ext cx="2616859" cy="327612"/>
          </a:xfrm>
          <a:prstGeom prst="rect">
            <a:avLst/>
          </a:prstGeom>
        </p:spPr>
      </p:pic>
    </p:spTree>
    <p:extLst>
      <p:ext uri="{BB962C8B-B14F-4D97-AF65-F5344CB8AC3E}">
        <p14:creationId xmlns:p14="http://schemas.microsoft.com/office/powerpoint/2010/main" val="3797425276"/>
      </p:ext>
    </p:extLst>
  </p:cSld>
  <p:clrMapOvr>
    <a:overrideClrMapping bg1="dk1" tx1="lt1" bg2="dk2" tx2="lt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9588"/>
            <a:ext cx="0" cy="0"/>
          </a:xfrm>
          <a:prstGeom prst="rect">
            <a:avLst/>
          </a:prstGeom>
        </p:spPr>
        <p:txBody>
          <a:bodyPr vert="horz" lIns="0" tIns="0" rIns="0" bIns="0" rtlCol="0" anchor="b" anchorCtr="0"/>
          <a:lstStyle>
            <a:lvl1pPr algn="l">
              <a:defRPr sz="100">
                <a:noFill/>
              </a:defRPr>
            </a:lvl1pPr>
          </a:lstStyle>
          <a:p>
            <a:fld id="{D9DD72BF-EDEC-441F-B5D6-F68832F343C4}" type="datetime1">
              <a:rPr lang="en-GB" smtClean="0"/>
              <a:t>04/03/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9588"/>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9588"/>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1613" cy="6859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1613" cy="6859588"/>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59953" y="5880161"/>
            <a:ext cx="2616859" cy="327676"/>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59953" y="654202"/>
            <a:ext cx="11470145" cy="1175023"/>
          </a:xfrm>
        </p:spPr>
        <p:txBody>
          <a:bodyPr anchor="t" anchorCtr="0"/>
          <a:lstStyle>
            <a:lvl1pPr algn="l">
              <a:defRPr sz="5999">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52" y="1829224"/>
            <a:ext cx="4319438" cy="56238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3980217615"/>
      </p:ext>
    </p:extLst>
  </p:cSld>
  <p:clrMapOvr>
    <a:overrideClrMapping bg1="dk1" tx1="lt1" bg2="dk2" tx2="lt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9588"/>
            <a:ext cx="0" cy="0"/>
          </a:xfrm>
          <a:prstGeom prst="rect">
            <a:avLst/>
          </a:prstGeom>
        </p:spPr>
        <p:txBody>
          <a:bodyPr vert="horz" lIns="0" tIns="0" rIns="0" bIns="0" rtlCol="0" anchor="b" anchorCtr="0"/>
          <a:lstStyle>
            <a:lvl1pPr algn="l">
              <a:defRPr sz="100">
                <a:noFill/>
              </a:defRPr>
            </a:lvl1pPr>
          </a:lstStyle>
          <a:p>
            <a:fld id="{D9DD72BF-EDEC-441F-B5D6-F68832F343C4}" type="datetime1">
              <a:rPr lang="en-GB" smtClean="0"/>
              <a:t>04/03/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9588"/>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9588"/>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1613" cy="6859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1613" cy="6859588"/>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59953" y="5880161"/>
            <a:ext cx="2616859" cy="327676"/>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59953" y="654202"/>
            <a:ext cx="11470145" cy="1175023"/>
          </a:xfrm>
        </p:spPr>
        <p:txBody>
          <a:bodyPr anchor="t" anchorCtr="0"/>
          <a:lstStyle>
            <a:lvl1pPr algn="l">
              <a:defRPr sz="5999">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52" y="1829224"/>
            <a:ext cx="4319438" cy="56238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2236477381"/>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GB"/>
              <a:t>Click to edit Master title style</a:t>
            </a:r>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513" y="1645033"/>
            <a:ext cx="4071937" cy="4063354"/>
          </a:xfrm>
        </p:spPr>
        <p:txBody>
          <a:bodyPr/>
          <a:lstStyle>
            <a:lvl5pPr>
              <a:defRPr spc="-100"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3" name="Content Placeholder 4">
            <a:extLst>
              <a:ext uri="{FF2B5EF4-FFF2-40B4-BE49-F238E27FC236}">
                <a16:creationId xmlns:a16="http://schemas.microsoft.com/office/drawing/2014/main" id="{535335C1-5736-449E-B5A3-80EF8EFB92D0}"/>
              </a:ext>
            </a:extLst>
          </p:cNvPr>
          <p:cNvSpPr>
            <a:spLocks noGrp="1"/>
          </p:cNvSpPr>
          <p:nvPr>
            <p:ph sz="quarter" idx="16"/>
          </p:nvPr>
        </p:nvSpPr>
        <p:spPr>
          <a:xfrm>
            <a:off x="5684838" y="1645032"/>
            <a:ext cx="5702300" cy="4063354"/>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4485281A-363B-4F1C-8128-EA4AF52562B6}"/>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8" name="Date_DateCustomA">
            <a:extLst>
              <a:ext uri="{FF2B5EF4-FFF2-40B4-BE49-F238E27FC236}">
                <a16:creationId xmlns:a16="http://schemas.microsoft.com/office/drawing/2014/main" id="{B0E6362C-AD60-4A3E-B1BD-8ACCD0B3D70E}"/>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B13202A9-DE11-408D-9B8A-7630BF567349}" type="datetime1">
              <a:rPr lang="en-GB" smtClean="0"/>
              <a:t>04/03/2024</a:t>
            </a:fld>
            <a:endParaRPr lang="en-GB"/>
          </a:p>
        </p:txBody>
      </p:sp>
    </p:spTree>
    <p:extLst>
      <p:ext uri="{BB962C8B-B14F-4D97-AF65-F5344CB8AC3E}">
        <p14:creationId xmlns:p14="http://schemas.microsoft.com/office/powerpoint/2010/main" val="273411911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9588"/>
            <a:ext cx="0" cy="0"/>
          </a:xfrm>
          <a:prstGeom prst="rect">
            <a:avLst/>
          </a:prstGeom>
        </p:spPr>
        <p:txBody>
          <a:bodyPr vert="horz" lIns="0" tIns="0" rIns="0" bIns="0" rtlCol="0" anchor="b" anchorCtr="0"/>
          <a:lstStyle>
            <a:lvl1pPr algn="l">
              <a:defRPr sz="100">
                <a:noFill/>
              </a:defRPr>
            </a:lvl1pPr>
          </a:lstStyle>
          <a:p>
            <a:fld id="{A6F26645-C2A2-4B76-9EB3-5D9CA57B224A}" type="datetime1">
              <a:rPr lang="en-GB" smtClean="0"/>
              <a:t>04/03/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9588"/>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9588"/>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1613" cy="68631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8844" y="1283049"/>
            <a:ext cx="4985351" cy="4247986"/>
          </a:xfrm>
          <a:prstGeom prst="rect">
            <a:avLst/>
          </a:prstGeom>
        </p:spPr>
      </p:pic>
    </p:spTree>
    <p:extLst>
      <p:ext uri="{BB962C8B-B14F-4D97-AF65-F5344CB8AC3E}">
        <p14:creationId xmlns:p14="http://schemas.microsoft.com/office/powerpoint/2010/main" val="4184137119"/>
      </p:ext>
    </p:extLst>
  </p:cSld>
  <p:clrMapOvr>
    <a:overrideClrMapping bg1="dk1" tx1="lt1" bg2="dk2" tx2="lt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9588"/>
            <a:ext cx="0" cy="0"/>
          </a:xfrm>
          <a:prstGeom prst="rect">
            <a:avLst/>
          </a:prstGeom>
        </p:spPr>
        <p:txBody>
          <a:bodyPr vert="horz" lIns="0" tIns="0" rIns="0" bIns="0" rtlCol="0" anchor="b" anchorCtr="0"/>
          <a:lstStyle>
            <a:lvl1pPr algn="l">
              <a:defRPr sz="100">
                <a:noFill/>
              </a:defRPr>
            </a:lvl1pPr>
          </a:lstStyle>
          <a:p>
            <a:fld id="{F25BA43C-8502-4266-A056-72866794E701}" type="datetime1">
              <a:rPr lang="en-GB" smtClean="0"/>
              <a:t>04/03/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9588"/>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9588"/>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1613" cy="68631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8844" y="1283049"/>
            <a:ext cx="4985351" cy="4247986"/>
          </a:xfrm>
          <a:prstGeom prst="rect">
            <a:avLst/>
          </a:prstGeom>
        </p:spPr>
      </p:pic>
    </p:spTree>
    <p:extLst>
      <p:ext uri="{BB962C8B-B14F-4D97-AF65-F5344CB8AC3E}">
        <p14:creationId xmlns:p14="http://schemas.microsoft.com/office/powerpoint/2010/main" val="952240583"/>
      </p:ext>
    </p:extLst>
  </p:cSld>
  <p:clrMapOvr>
    <a:overrideClrMapping bg1="dk1" tx1="lt1" bg2="dk2" tx2="lt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068" y="4614341"/>
            <a:ext cx="995618" cy="2066369"/>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4634" y="938758"/>
            <a:ext cx="2879625" cy="5187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81"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309"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309"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309"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309"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309"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309"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8878" y="1187712"/>
            <a:ext cx="676581" cy="997935"/>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0634" y="3149259"/>
            <a:ext cx="313747" cy="544026"/>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4561" y="938757"/>
            <a:ext cx="2879625" cy="5017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81"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309"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309"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309"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29" y="244185"/>
            <a:ext cx="11288828" cy="650322"/>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4429" y="1494205"/>
            <a:ext cx="378244" cy="543492"/>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9588"/>
            <a:ext cx="0" cy="0"/>
          </a:xfrm>
        </p:spPr>
        <p:txBody>
          <a:bodyPr/>
          <a:lstStyle>
            <a:lvl1pPr>
              <a:defRPr sz="100">
                <a:noFill/>
              </a:defRPr>
            </a:lvl1pPr>
          </a:lstStyle>
          <a:p>
            <a:fld id="{A5B220B3-5DAB-45AB-9B6A-9B7C36B5A57F}" type="datetime1">
              <a:rPr lang="en-GB" smtClean="0"/>
              <a:t>04/03/2024</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9588"/>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9588"/>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09138" y="2430729"/>
            <a:ext cx="341160" cy="321781"/>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4428" y="4633530"/>
            <a:ext cx="650765" cy="974053"/>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20" y="938758"/>
            <a:ext cx="2879625" cy="4556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81"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309"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309"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309"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309"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309"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309"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492" y="4288973"/>
            <a:ext cx="475366" cy="176803"/>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492" y="3471789"/>
            <a:ext cx="328838" cy="505618"/>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190" y="2738464"/>
            <a:ext cx="538395" cy="17288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492" y="2027010"/>
            <a:ext cx="457083" cy="25720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206" y="4998096"/>
            <a:ext cx="907663" cy="310156"/>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0676" y="4998096"/>
            <a:ext cx="907663" cy="310156"/>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206" y="6076889"/>
            <a:ext cx="907663" cy="310156"/>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0676" y="6076889"/>
            <a:ext cx="907663" cy="310156"/>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43681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0413" cy="6859588"/>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1" tIns="71991" rIns="71991" bIns="71991" numCol="1" spcCol="0" rtlCol="0" fromWordArt="0" anchor="ctr" anchorCtr="0" forceAA="0" compatLnSpc="1">
            <a:prstTxWarp prst="textNoShape">
              <a:avLst/>
            </a:prstTxWarp>
            <a:noAutofit/>
          </a:bodyPr>
          <a:lstStyle/>
          <a:p>
            <a:pPr algn="ctr">
              <a:spcBef>
                <a:spcPts val="600"/>
              </a:spcBef>
              <a:buClr>
                <a:srgbClr val="003755"/>
              </a:buClr>
            </a:pPr>
            <a:endParaRPr lang="en-GB" sz="1400">
              <a:solidFill>
                <a:schemeClr val="tx1"/>
              </a:solidFill>
            </a:endParaRPr>
          </a:p>
        </p:txBody>
      </p:sp>
      <p:sp>
        <p:nvSpPr>
          <p:cNvPr id="5" name="Do not use"/>
          <p:cNvSpPr txBox="1"/>
          <p:nvPr userDrawn="1"/>
        </p:nvSpPr>
        <p:spPr>
          <a:xfrm>
            <a:off x="358729" y="656975"/>
            <a:ext cx="11471370" cy="1847087"/>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3520" y="3325996"/>
            <a:ext cx="1036653" cy="103702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157" y="2745648"/>
            <a:ext cx="10151024" cy="1862479"/>
          </a:xfrm>
          <a:prstGeom prst="rect">
            <a:avLst/>
          </a:prstGeom>
        </p:spPr>
        <p:txBody>
          <a:bodyPr wrap="square">
            <a:spAutoFit/>
          </a:bodyPr>
          <a:lstStyle/>
          <a:p>
            <a:pPr algn="ctr"/>
            <a:r>
              <a:rPr lang="en-GB" sz="11499"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29" y="5187656"/>
            <a:ext cx="11471370" cy="631088"/>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9588"/>
            <a:ext cx="0" cy="0"/>
          </a:xfrm>
        </p:spPr>
        <p:txBody>
          <a:bodyPr/>
          <a:lstStyle>
            <a:lvl1pPr>
              <a:defRPr sz="100">
                <a:noFill/>
              </a:defRPr>
            </a:lvl1pPr>
          </a:lstStyle>
          <a:p>
            <a:fld id="{06357EC7-0D53-4A60-9E41-D75A47B48389}" type="datetime1">
              <a:rPr lang="en-GB" smtClean="0"/>
              <a:t>04/03/2024</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9588"/>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9588"/>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129834854"/>
      </p:ext>
    </p:extLst>
  </p:cSld>
  <p:clrMapOvr>
    <a:overrideClrMapping bg1="dk1" tx1="lt1" bg2="dk2" tx2="lt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Full slide image">
    <p:spTree>
      <p:nvGrpSpPr>
        <p:cNvPr id="1" name=""/>
        <p:cNvGrpSpPr/>
        <p:nvPr/>
      </p:nvGrpSpPr>
      <p:grpSpPr>
        <a:xfrm>
          <a:off x="0" y="0"/>
          <a:ext cx="0" cy="0"/>
          <a:chOff x="0" y="0"/>
          <a:chExt cx="0" cy="0"/>
        </a:xfrm>
      </p:grpSpPr>
      <p:sp>
        <p:nvSpPr>
          <p:cNvPr id="3" name="Background"/>
          <p:cNvSpPr/>
          <p:nvPr userDrawn="1"/>
        </p:nvSpPr>
        <p:spPr>
          <a:xfrm>
            <a:off x="0" y="0"/>
            <a:ext cx="121896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 name="Picture Placeholder 5"/>
          <p:cNvSpPr>
            <a:spLocks noGrp="1"/>
          </p:cNvSpPr>
          <p:nvPr>
            <p:ph type="pic" sz="quarter" idx="10" hasCustomPrompt="1"/>
          </p:nvPr>
        </p:nvSpPr>
        <p:spPr>
          <a:xfrm>
            <a:off x="-1" y="0"/>
            <a:ext cx="12193200" cy="6861600"/>
          </a:xfrm>
          <a:solidFill>
            <a:srgbClr val="F6F6F4"/>
          </a:solidFill>
        </p:spPr>
        <p:txBody>
          <a:bodyPr tIns="0" anchor="t" anchorCtr="0"/>
          <a:lstStyle>
            <a:lvl1pPr marL="0" indent="0" algn="ctr">
              <a:buNone/>
              <a:defRPr baseline="0">
                <a:solidFill>
                  <a:schemeClr val="tx1"/>
                </a:solidFill>
              </a:defRPr>
            </a:lvl1pPr>
          </a:lstStyle>
          <a:p>
            <a:r>
              <a:rPr lang="en-GB" noProof="0"/>
              <a:t>Mark placeholder to insert image</a:t>
            </a:r>
          </a:p>
        </p:txBody>
      </p:sp>
      <p:sp>
        <p:nvSpPr>
          <p:cNvPr id="7" name="Text Placeholder 15">
            <a:extLst>
              <a:ext uri="{FF2B5EF4-FFF2-40B4-BE49-F238E27FC236}">
                <a16:creationId xmlns:a16="http://schemas.microsoft.com/office/drawing/2014/main" id="{D502E4A2-448F-4BE7-8814-15A06BDE1CF9}"/>
              </a:ext>
            </a:extLst>
          </p:cNvPr>
          <p:cNvSpPr>
            <a:spLocks noGrp="1"/>
          </p:cNvSpPr>
          <p:nvPr>
            <p:ph type="body" sz="quarter" idx="12" hasCustomPrompt="1"/>
          </p:nvPr>
        </p:nvSpPr>
        <p:spPr bwMode="auto">
          <a:xfrm>
            <a:off x="798513" y="6159600"/>
            <a:ext cx="1220400" cy="255600"/>
          </a:xfrm>
          <a:custGeom>
            <a:avLst/>
            <a:gdLst>
              <a:gd name="connsiteX0" fmla="*/ 10555461 w 20742935"/>
              <a:gd name="connsiteY0" fmla="*/ 2313797 h 4374000"/>
              <a:gd name="connsiteX1" fmla="*/ 11078393 w 20742935"/>
              <a:gd name="connsiteY1" fmla="*/ 2313797 h 4374000"/>
              <a:gd name="connsiteX2" fmla="*/ 11427013 w 20742935"/>
              <a:gd name="connsiteY2" fmla="*/ 2549249 h 4374000"/>
              <a:gd name="connsiteX3" fmla="*/ 11097761 w 20742935"/>
              <a:gd name="connsiteY3" fmla="*/ 2784701 h 4374000"/>
              <a:gd name="connsiteX4" fmla="*/ 10555461 w 20742935"/>
              <a:gd name="connsiteY4" fmla="*/ 2784701 h 4374000"/>
              <a:gd name="connsiteX5" fmla="*/ 10555461 w 20742935"/>
              <a:gd name="connsiteY5" fmla="*/ 2313797 h 4374000"/>
              <a:gd name="connsiteX6" fmla="*/ 5442357 w 20742935"/>
              <a:gd name="connsiteY6" fmla="*/ 1627063 h 4374000"/>
              <a:gd name="connsiteX7" fmla="*/ 5732875 w 20742935"/>
              <a:gd name="connsiteY7" fmla="*/ 2313797 h 4374000"/>
              <a:gd name="connsiteX8" fmla="*/ 5151840 w 20742935"/>
              <a:gd name="connsiteY8" fmla="*/ 2313797 h 4374000"/>
              <a:gd name="connsiteX9" fmla="*/ 2556552 w 20742935"/>
              <a:gd name="connsiteY9" fmla="*/ 1509337 h 4374000"/>
              <a:gd name="connsiteX10" fmla="*/ 3002012 w 20742935"/>
              <a:gd name="connsiteY10" fmla="*/ 1509337 h 4374000"/>
              <a:gd name="connsiteX11" fmla="*/ 3350633 w 20742935"/>
              <a:gd name="connsiteY11" fmla="*/ 1803652 h 4374000"/>
              <a:gd name="connsiteX12" fmla="*/ 3002012 w 20742935"/>
              <a:gd name="connsiteY12" fmla="*/ 2117588 h 4374000"/>
              <a:gd name="connsiteX13" fmla="*/ 2556552 w 20742935"/>
              <a:gd name="connsiteY13" fmla="*/ 2117588 h 4374000"/>
              <a:gd name="connsiteX14" fmla="*/ 2556552 w 20742935"/>
              <a:gd name="connsiteY14" fmla="*/ 1509337 h 4374000"/>
              <a:gd name="connsiteX15" fmla="*/ 10555461 w 20742935"/>
              <a:gd name="connsiteY15" fmla="*/ 1489716 h 4374000"/>
              <a:gd name="connsiteX16" fmla="*/ 11000921 w 20742935"/>
              <a:gd name="connsiteY16" fmla="*/ 1489716 h 4374000"/>
              <a:gd name="connsiteX17" fmla="*/ 11310807 w 20742935"/>
              <a:gd name="connsiteY17" fmla="*/ 1725168 h 4374000"/>
              <a:gd name="connsiteX18" fmla="*/ 10981553 w 20742935"/>
              <a:gd name="connsiteY18" fmla="*/ 1940999 h 4374000"/>
              <a:gd name="connsiteX19" fmla="*/ 10555461 w 20742935"/>
              <a:gd name="connsiteY19" fmla="*/ 1940999 h 4374000"/>
              <a:gd name="connsiteX20" fmla="*/ 10555461 w 20742935"/>
              <a:gd name="connsiteY20" fmla="*/ 1489716 h 4374000"/>
              <a:gd name="connsiteX21" fmla="*/ 10342417 w 20742935"/>
              <a:gd name="connsiteY21" fmla="*/ 1097297 h 4374000"/>
              <a:gd name="connsiteX22" fmla="*/ 10110001 w 20742935"/>
              <a:gd name="connsiteY22" fmla="*/ 1332749 h 4374000"/>
              <a:gd name="connsiteX23" fmla="*/ 10110001 w 20742935"/>
              <a:gd name="connsiteY23" fmla="*/ 2941669 h 4374000"/>
              <a:gd name="connsiteX24" fmla="*/ 10342417 w 20742935"/>
              <a:gd name="connsiteY24" fmla="*/ 3177120 h 4374000"/>
              <a:gd name="connsiteX25" fmla="*/ 11097761 w 20742935"/>
              <a:gd name="connsiteY25" fmla="*/ 3177120 h 4374000"/>
              <a:gd name="connsiteX26" fmla="*/ 11872473 w 20742935"/>
              <a:gd name="connsiteY26" fmla="*/ 2608112 h 4374000"/>
              <a:gd name="connsiteX27" fmla="*/ 11485117 w 20742935"/>
              <a:gd name="connsiteY27" fmla="*/ 2097967 h 4374000"/>
              <a:gd name="connsiteX28" fmla="*/ 11756267 w 20742935"/>
              <a:gd name="connsiteY28" fmla="*/ 1627063 h 4374000"/>
              <a:gd name="connsiteX29" fmla="*/ 11620693 w 20742935"/>
              <a:gd name="connsiteY29" fmla="*/ 1273886 h 4374000"/>
              <a:gd name="connsiteX30" fmla="*/ 11078393 w 20742935"/>
              <a:gd name="connsiteY30" fmla="*/ 1097297 h 4374000"/>
              <a:gd name="connsiteX31" fmla="*/ 2324139 w 20742935"/>
              <a:gd name="connsiteY31" fmla="*/ 1097297 h 4374000"/>
              <a:gd name="connsiteX32" fmla="*/ 2091725 w 20742935"/>
              <a:gd name="connsiteY32" fmla="*/ 1332749 h 4374000"/>
              <a:gd name="connsiteX33" fmla="*/ 2091725 w 20742935"/>
              <a:gd name="connsiteY33" fmla="*/ 2961290 h 4374000"/>
              <a:gd name="connsiteX34" fmla="*/ 2324139 w 20742935"/>
              <a:gd name="connsiteY34" fmla="*/ 3196741 h 4374000"/>
              <a:gd name="connsiteX35" fmla="*/ 2556552 w 20742935"/>
              <a:gd name="connsiteY35" fmla="*/ 2961290 h 4374000"/>
              <a:gd name="connsiteX36" fmla="*/ 2556552 w 20742935"/>
              <a:gd name="connsiteY36" fmla="*/ 2510007 h 4374000"/>
              <a:gd name="connsiteX37" fmla="*/ 2905173 w 20742935"/>
              <a:gd name="connsiteY37" fmla="*/ 2510007 h 4374000"/>
              <a:gd name="connsiteX38" fmla="*/ 3350633 w 20742935"/>
              <a:gd name="connsiteY38" fmla="*/ 3079016 h 4374000"/>
              <a:gd name="connsiteX39" fmla="*/ 3563679 w 20742935"/>
              <a:gd name="connsiteY39" fmla="*/ 3196741 h 4374000"/>
              <a:gd name="connsiteX40" fmla="*/ 3796093 w 20742935"/>
              <a:gd name="connsiteY40" fmla="*/ 2980911 h 4374000"/>
              <a:gd name="connsiteX41" fmla="*/ 3718621 w 20742935"/>
              <a:gd name="connsiteY41" fmla="*/ 2804322 h 4374000"/>
              <a:gd name="connsiteX42" fmla="*/ 3408736 w 20742935"/>
              <a:gd name="connsiteY42" fmla="*/ 2431523 h 4374000"/>
              <a:gd name="connsiteX43" fmla="*/ 3815461 w 20742935"/>
              <a:gd name="connsiteY43" fmla="*/ 1784031 h 4374000"/>
              <a:gd name="connsiteX44" fmla="*/ 3641150 w 20742935"/>
              <a:gd name="connsiteY44" fmla="*/ 1313128 h 4374000"/>
              <a:gd name="connsiteX45" fmla="*/ 3040748 w 20742935"/>
              <a:gd name="connsiteY45" fmla="*/ 1097297 h 4374000"/>
              <a:gd name="connsiteX46" fmla="*/ 2324139 w 20742935"/>
              <a:gd name="connsiteY46" fmla="*/ 1097297 h 4374000"/>
              <a:gd name="connsiteX47" fmla="*/ 17799025 w 20742935"/>
              <a:gd name="connsiteY47" fmla="*/ 1077676 h 4374000"/>
              <a:gd name="connsiteX48" fmla="*/ 17585981 w 20742935"/>
              <a:gd name="connsiteY48" fmla="*/ 1313128 h 4374000"/>
              <a:gd name="connsiteX49" fmla="*/ 17585981 w 20742935"/>
              <a:gd name="connsiteY49" fmla="*/ 2941669 h 4374000"/>
              <a:gd name="connsiteX50" fmla="*/ 17799025 w 20742935"/>
              <a:gd name="connsiteY50" fmla="*/ 3177120 h 4374000"/>
              <a:gd name="connsiteX51" fmla="*/ 18883625 w 20742935"/>
              <a:gd name="connsiteY51" fmla="*/ 3177120 h 4374000"/>
              <a:gd name="connsiteX52" fmla="*/ 19077301 w 20742935"/>
              <a:gd name="connsiteY52" fmla="*/ 2980911 h 4374000"/>
              <a:gd name="connsiteX53" fmla="*/ 18883625 w 20742935"/>
              <a:gd name="connsiteY53" fmla="*/ 2765080 h 4374000"/>
              <a:gd name="connsiteX54" fmla="*/ 18031441 w 20742935"/>
              <a:gd name="connsiteY54" fmla="*/ 2765080 h 4374000"/>
              <a:gd name="connsiteX55" fmla="*/ 18031441 w 20742935"/>
              <a:gd name="connsiteY55" fmla="*/ 1313128 h 4374000"/>
              <a:gd name="connsiteX56" fmla="*/ 17799025 w 20742935"/>
              <a:gd name="connsiteY56" fmla="*/ 1077676 h 4374000"/>
              <a:gd name="connsiteX57" fmla="*/ 15707301 w 20742935"/>
              <a:gd name="connsiteY57" fmla="*/ 1077676 h 4374000"/>
              <a:gd name="connsiteX58" fmla="*/ 15474889 w 20742935"/>
              <a:gd name="connsiteY58" fmla="*/ 1313128 h 4374000"/>
              <a:gd name="connsiteX59" fmla="*/ 15474889 w 20742935"/>
              <a:gd name="connsiteY59" fmla="*/ 2941669 h 4374000"/>
              <a:gd name="connsiteX60" fmla="*/ 15707301 w 20742935"/>
              <a:gd name="connsiteY60" fmla="*/ 3177120 h 4374000"/>
              <a:gd name="connsiteX61" fmla="*/ 16772533 w 20742935"/>
              <a:gd name="connsiteY61" fmla="*/ 3177120 h 4374000"/>
              <a:gd name="connsiteX62" fmla="*/ 16985577 w 20742935"/>
              <a:gd name="connsiteY62" fmla="*/ 2980911 h 4374000"/>
              <a:gd name="connsiteX63" fmla="*/ 16772533 w 20742935"/>
              <a:gd name="connsiteY63" fmla="*/ 2765080 h 4374000"/>
              <a:gd name="connsiteX64" fmla="*/ 15939717 w 20742935"/>
              <a:gd name="connsiteY64" fmla="*/ 2765080 h 4374000"/>
              <a:gd name="connsiteX65" fmla="*/ 15939717 w 20742935"/>
              <a:gd name="connsiteY65" fmla="*/ 1313128 h 4374000"/>
              <a:gd name="connsiteX66" fmla="*/ 15707301 w 20742935"/>
              <a:gd name="connsiteY66" fmla="*/ 1077676 h 4374000"/>
              <a:gd name="connsiteX67" fmla="*/ 7417875 w 20742935"/>
              <a:gd name="connsiteY67" fmla="*/ 1077676 h 4374000"/>
              <a:gd name="connsiteX68" fmla="*/ 7166093 w 20742935"/>
              <a:gd name="connsiteY68" fmla="*/ 1293507 h 4374000"/>
              <a:gd name="connsiteX69" fmla="*/ 7166093 w 20742935"/>
              <a:gd name="connsiteY69" fmla="*/ 2961290 h 4374000"/>
              <a:gd name="connsiteX70" fmla="*/ 7398507 w 20742935"/>
              <a:gd name="connsiteY70" fmla="*/ 3196741 h 4374000"/>
              <a:gd name="connsiteX71" fmla="*/ 7611553 w 20742935"/>
              <a:gd name="connsiteY71" fmla="*/ 2961290 h 4374000"/>
              <a:gd name="connsiteX72" fmla="*/ 7611553 w 20742935"/>
              <a:gd name="connsiteY72" fmla="*/ 1940999 h 4374000"/>
              <a:gd name="connsiteX73" fmla="*/ 7998909 w 20742935"/>
              <a:gd name="connsiteY73" fmla="*/ 2549249 h 4374000"/>
              <a:gd name="connsiteX74" fmla="*/ 8192589 w 20742935"/>
              <a:gd name="connsiteY74" fmla="*/ 2666975 h 4374000"/>
              <a:gd name="connsiteX75" fmla="*/ 8386265 w 20742935"/>
              <a:gd name="connsiteY75" fmla="*/ 2549249 h 4374000"/>
              <a:gd name="connsiteX76" fmla="*/ 8773621 w 20742935"/>
              <a:gd name="connsiteY76" fmla="*/ 1921378 h 4374000"/>
              <a:gd name="connsiteX77" fmla="*/ 8773621 w 20742935"/>
              <a:gd name="connsiteY77" fmla="*/ 2961290 h 4374000"/>
              <a:gd name="connsiteX78" fmla="*/ 9006037 w 20742935"/>
              <a:gd name="connsiteY78" fmla="*/ 3196741 h 4374000"/>
              <a:gd name="connsiteX79" fmla="*/ 9238449 w 20742935"/>
              <a:gd name="connsiteY79" fmla="*/ 2961290 h 4374000"/>
              <a:gd name="connsiteX80" fmla="*/ 9238449 w 20742935"/>
              <a:gd name="connsiteY80" fmla="*/ 1293507 h 4374000"/>
              <a:gd name="connsiteX81" fmla="*/ 8986669 w 20742935"/>
              <a:gd name="connsiteY81" fmla="*/ 1077676 h 4374000"/>
              <a:gd name="connsiteX82" fmla="*/ 8734887 w 20742935"/>
              <a:gd name="connsiteY82" fmla="*/ 1215023 h 4374000"/>
              <a:gd name="connsiteX83" fmla="*/ 8211955 w 20742935"/>
              <a:gd name="connsiteY83" fmla="*/ 2097967 h 4374000"/>
              <a:gd name="connsiteX84" fmla="*/ 7669657 w 20742935"/>
              <a:gd name="connsiteY84" fmla="*/ 1215023 h 4374000"/>
              <a:gd name="connsiteX85" fmla="*/ 7417875 w 20742935"/>
              <a:gd name="connsiteY85" fmla="*/ 1077676 h 4374000"/>
              <a:gd name="connsiteX86" fmla="*/ 5461725 w 20742935"/>
              <a:gd name="connsiteY86" fmla="*/ 1058055 h 4374000"/>
              <a:gd name="connsiteX87" fmla="*/ 5171208 w 20742935"/>
              <a:gd name="connsiteY87" fmla="*/ 1234644 h 4374000"/>
              <a:gd name="connsiteX88" fmla="*/ 4454599 w 20742935"/>
              <a:gd name="connsiteY88" fmla="*/ 2882806 h 4374000"/>
              <a:gd name="connsiteX89" fmla="*/ 4435231 w 20742935"/>
              <a:gd name="connsiteY89" fmla="*/ 3000532 h 4374000"/>
              <a:gd name="connsiteX90" fmla="*/ 4648277 w 20742935"/>
              <a:gd name="connsiteY90" fmla="*/ 3196741 h 4374000"/>
              <a:gd name="connsiteX91" fmla="*/ 4841955 w 20742935"/>
              <a:gd name="connsiteY91" fmla="*/ 3059395 h 4374000"/>
              <a:gd name="connsiteX92" fmla="*/ 4996897 w 20742935"/>
              <a:gd name="connsiteY92" fmla="*/ 2706217 h 4374000"/>
              <a:gd name="connsiteX93" fmla="*/ 5907185 w 20742935"/>
              <a:gd name="connsiteY93" fmla="*/ 2706217 h 4374000"/>
              <a:gd name="connsiteX94" fmla="*/ 6042760 w 20742935"/>
              <a:gd name="connsiteY94" fmla="*/ 3059395 h 4374000"/>
              <a:gd name="connsiteX95" fmla="*/ 6255805 w 20742935"/>
              <a:gd name="connsiteY95" fmla="*/ 3196741 h 4374000"/>
              <a:gd name="connsiteX96" fmla="*/ 6468853 w 20742935"/>
              <a:gd name="connsiteY96" fmla="*/ 3000532 h 4374000"/>
              <a:gd name="connsiteX97" fmla="*/ 6449485 w 20742935"/>
              <a:gd name="connsiteY97" fmla="*/ 2882806 h 4374000"/>
              <a:gd name="connsiteX98" fmla="*/ 5732875 w 20742935"/>
              <a:gd name="connsiteY98" fmla="*/ 1234644 h 4374000"/>
              <a:gd name="connsiteX99" fmla="*/ 5461725 w 20742935"/>
              <a:gd name="connsiteY99" fmla="*/ 1058055 h 4374000"/>
              <a:gd name="connsiteX100" fmla="*/ 847119 w 20742935"/>
              <a:gd name="connsiteY100" fmla="*/ 0 h 4374000"/>
              <a:gd name="connsiteX101" fmla="*/ 14021983 w 20742935"/>
              <a:gd name="connsiteY101" fmla="*/ 0 h 4374000"/>
              <a:gd name="connsiteX102" fmla="*/ 14021847 w 20742935"/>
              <a:gd name="connsiteY102" fmla="*/ 630 h 4374000"/>
              <a:gd name="connsiteX103" fmla="*/ 13789889 w 20742935"/>
              <a:gd name="connsiteY103" fmla="*/ 1077676 h 4374000"/>
              <a:gd name="connsiteX104" fmla="*/ 13615577 w 20742935"/>
              <a:gd name="connsiteY104" fmla="*/ 1058055 h 4374000"/>
              <a:gd name="connsiteX105" fmla="*/ 12511613 w 20742935"/>
              <a:gd name="connsiteY105" fmla="*/ 2137209 h 4374000"/>
              <a:gd name="connsiteX106" fmla="*/ 13596209 w 20742935"/>
              <a:gd name="connsiteY106" fmla="*/ 3216362 h 4374000"/>
              <a:gd name="connsiteX107" fmla="*/ 14700175 w 20742935"/>
              <a:gd name="connsiteY107" fmla="*/ 2137209 h 4374000"/>
              <a:gd name="connsiteX108" fmla="*/ 14583969 w 20742935"/>
              <a:gd name="connsiteY108" fmla="*/ 1646684 h 4374000"/>
              <a:gd name="connsiteX109" fmla="*/ 14196613 w 20742935"/>
              <a:gd name="connsiteY109" fmla="*/ 1940999 h 4374000"/>
              <a:gd name="connsiteX110" fmla="*/ 14235349 w 20742935"/>
              <a:gd name="connsiteY110" fmla="*/ 2137209 h 4374000"/>
              <a:gd name="connsiteX111" fmla="*/ 13615577 w 20742935"/>
              <a:gd name="connsiteY111" fmla="*/ 2784701 h 4374000"/>
              <a:gd name="connsiteX112" fmla="*/ 12976439 w 20742935"/>
              <a:gd name="connsiteY112" fmla="*/ 2137209 h 4374000"/>
              <a:gd name="connsiteX113" fmla="*/ 13596209 w 20742935"/>
              <a:gd name="connsiteY113" fmla="*/ 1489716 h 4374000"/>
              <a:gd name="connsiteX114" fmla="*/ 13693049 w 20742935"/>
              <a:gd name="connsiteY114" fmla="*/ 1489716 h 4374000"/>
              <a:gd name="connsiteX115" fmla="*/ 13518737 w 20742935"/>
              <a:gd name="connsiteY115" fmla="*/ 2274556 h 4374000"/>
              <a:gd name="connsiteX116" fmla="*/ 13576841 w 20742935"/>
              <a:gd name="connsiteY116" fmla="*/ 2313797 h 4374000"/>
              <a:gd name="connsiteX117" fmla="*/ 15302449 w 20742935"/>
              <a:gd name="connsiteY117" fmla="*/ 208867 h 4374000"/>
              <a:gd name="connsiteX118" fmla="*/ 15473677 w 20742935"/>
              <a:gd name="connsiteY118" fmla="*/ 0 h 4374000"/>
              <a:gd name="connsiteX119" fmla="*/ 19895817 w 20742935"/>
              <a:gd name="connsiteY119" fmla="*/ 0 h 4374000"/>
              <a:gd name="connsiteX120" fmla="*/ 20086775 w 20742935"/>
              <a:gd name="connsiteY120" fmla="*/ 11552 h 4374000"/>
              <a:gd name="connsiteX121" fmla="*/ 20739957 w 20742935"/>
              <a:gd name="connsiteY121" fmla="*/ 787481 h 4374000"/>
              <a:gd name="connsiteX122" fmla="*/ 20742935 w 20742935"/>
              <a:gd name="connsiteY122" fmla="*/ 901016 h 4374000"/>
              <a:gd name="connsiteX123" fmla="*/ 20742935 w 20742935"/>
              <a:gd name="connsiteY123" fmla="*/ 3471506 h 4374000"/>
              <a:gd name="connsiteX124" fmla="*/ 20739957 w 20742935"/>
              <a:gd name="connsiteY124" fmla="*/ 3585041 h 4374000"/>
              <a:gd name="connsiteX125" fmla="*/ 19871385 w 20742935"/>
              <a:gd name="connsiteY125" fmla="*/ 4374000 h 4374000"/>
              <a:gd name="connsiteX126" fmla="*/ 871552 w 20742935"/>
              <a:gd name="connsiteY126" fmla="*/ 4374000 h 4374000"/>
              <a:gd name="connsiteX127" fmla="*/ 0 w 20742935"/>
              <a:gd name="connsiteY127" fmla="*/ 3471435 h 4374000"/>
              <a:gd name="connsiteX128" fmla="*/ 0 w 20742935"/>
              <a:gd name="connsiteY128" fmla="*/ 901087 h 4374000"/>
              <a:gd name="connsiteX129" fmla="*/ 656161 w 20742935"/>
              <a:gd name="connsiteY129" fmla="*/ 11552 h 43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0742935" h="4374000">
                <a:moveTo>
                  <a:pt x="10555461" y="2313797"/>
                </a:moveTo>
                <a:cubicBezTo>
                  <a:pt x="10555461" y="2313797"/>
                  <a:pt x="10555461" y="2313797"/>
                  <a:pt x="11078393" y="2313797"/>
                </a:cubicBezTo>
                <a:cubicBezTo>
                  <a:pt x="11310807" y="2313797"/>
                  <a:pt x="11427013" y="2411902"/>
                  <a:pt x="11427013" y="2549249"/>
                </a:cubicBezTo>
                <a:cubicBezTo>
                  <a:pt x="11427013" y="2706217"/>
                  <a:pt x="11291439" y="2784701"/>
                  <a:pt x="11097761" y="2784701"/>
                </a:cubicBezTo>
                <a:cubicBezTo>
                  <a:pt x="11097761" y="2784701"/>
                  <a:pt x="11097761" y="2784701"/>
                  <a:pt x="10555461" y="2784701"/>
                </a:cubicBezTo>
                <a:cubicBezTo>
                  <a:pt x="10555461" y="2784701"/>
                  <a:pt x="10555461" y="2784701"/>
                  <a:pt x="10555461" y="2313797"/>
                </a:cubicBezTo>
                <a:close/>
                <a:moveTo>
                  <a:pt x="5442357" y="1627063"/>
                </a:moveTo>
                <a:cubicBezTo>
                  <a:pt x="5442357" y="1627063"/>
                  <a:pt x="5442357" y="1627063"/>
                  <a:pt x="5732875" y="2313797"/>
                </a:cubicBezTo>
                <a:cubicBezTo>
                  <a:pt x="5732875" y="2313797"/>
                  <a:pt x="5732875" y="2313797"/>
                  <a:pt x="5151840" y="2313797"/>
                </a:cubicBezTo>
                <a:close/>
                <a:moveTo>
                  <a:pt x="2556552" y="1509337"/>
                </a:moveTo>
                <a:cubicBezTo>
                  <a:pt x="2556552" y="1509337"/>
                  <a:pt x="2556552" y="1509337"/>
                  <a:pt x="3002012" y="1509337"/>
                </a:cubicBezTo>
                <a:cubicBezTo>
                  <a:pt x="3215058" y="1509337"/>
                  <a:pt x="3350633" y="1607442"/>
                  <a:pt x="3350633" y="1803652"/>
                </a:cubicBezTo>
                <a:cubicBezTo>
                  <a:pt x="3350633" y="1980241"/>
                  <a:pt x="3234426" y="2117588"/>
                  <a:pt x="3002012" y="2117588"/>
                </a:cubicBezTo>
                <a:cubicBezTo>
                  <a:pt x="3002012" y="2117588"/>
                  <a:pt x="3002012" y="2117588"/>
                  <a:pt x="2556552" y="2117588"/>
                </a:cubicBezTo>
                <a:cubicBezTo>
                  <a:pt x="2556552" y="2117588"/>
                  <a:pt x="2556552" y="2117588"/>
                  <a:pt x="2556552" y="1509337"/>
                </a:cubicBezTo>
                <a:close/>
                <a:moveTo>
                  <a:pt x="10555461" y="1489716"/>
                </a:moveTo>
                <a:cubicBezTo>
                  <a:pt x="10555461" y="1489716"/>
                  <a:pt x="10555461" y="1489716"/>
                  <a:pt x="11000921" y="1489716"/>
                </a:cubicBezTo>
                <a:cubicBezTo>
                  <a:pt x="11194601" y="1489716"/>
                  <a:pt x="11310807" y="1568200"/>
                  <a:pt x="11310807" y="1725168"/>
                </a:cubicBezTo>
                <a:cubicBezTo>
                  <a:pt x="11310807" y="1882136"/>
                  <a:pt x="11175233" y="1940999"/>
                  <a:pt x="10981553" y="1940999"/>
                </a:cubicBezTo>
                <a:cubicBezTo>
                  <a:pt x="10981553" y="1940999"/>
                  <a:pt x="10981553" y="1940999"/>
                  <a:pt x="10555461" y="1940999"/>
                </a:cubicBezTo>
                <a:cubicBezTo>
                  <a:pt x="10555461" y="1940999"/>
                  <a:pt x="10555461" y="1940999"/>
                  <a:pt x="10555461" y="1489716"/>
                </a:cubicBezTo>
                <a:close/>
                <a:moveTo>
                  <a:pt x="10342417" y="1097297"/>
                </a:moveTo>
                <a:cubicBezTo>
                  <a:pt x="10206841" y="1097297"/>
                  <a:pt x="10110001" y="1175781"/>
                  <a:pt x="10110001" y="1332749"/>
                </a:cubicBezTo>
                <a:cubicBezTo>
                  <a:pt x="10110001" y="1332749"/>
                  <a:pt x="10110001" y="1332749"/>
                  <a:pt x="10110001" y="2941669"/>
                </a:cubicBezTo>
                <a:cubicBezTo>
                  <a:pt x="10110001" y="3098637"/>
                  <a:pt x="10206841" y="3177120"/>
                  <a:pt x="10342417" y="3177120"/>
                </a:cubicBezTo>
                <a:cubicBezTo>
                  <a:pt x="10342417" y="3177120"/>
                  <a:pt x="10342417" y="3177120"/>
                  <a:pt x="11097761" y="3177120"/>
                </a:cubicBezTo>
                <a:cubicBezTo>
                  <a:pt x="11562589" y="3177120"/>
                  <a:pt x="11872473" y="3000532"/>
                  <a:pt x="11872473" y="2608112"/>
                </a:cubicBezTo>
                <a:cubicBezTo>
                  <a:pt x="11872473" y="2313797"/>
                  <a:pt x="11717531" y="2176451"/>
                  <a:pt x="11485117" y="2097967"/>
                </a:cubicBezTo>
                <a:cubicBezTo>
                  <a:pt x="11640061" y="1999862"/>
                  <a:pt x="11756267" y="1882136"/>
                  <a:pt x="11756267" y="1627063"/>
                </a:cubicBezTo>
                <a:cubicBezTo>
                  <a:pt x="11756267" y="1489716"/>
                  <a:pt x="11717531" y="1371991"/>
                  <a:pt x="11620693" y="1273886"/>
                </a:cubicBezTo>
                <a:cubicBezTo>
                  <a:pt x="11504485" y="1156160"/>
                  <a:pt x="11310807" y="1097297"/>
                  <a:pt x="11078393" y="1097297"/>
                </a:cubicBezTo>
                <a:close/>
                <a:moveTo>
                  <a:pt x="2324139" y="1097297"/>
                </a:moveTo>
                <a:cubicBezTo>
                  <a:pt x="2188564" y="1097297"/>
                  <a:pt x="2091725" y="1175781"/>
                  <a:pt x="2091725" y="1332749"/>
                </a:cubicBezTo>
                <a:lnTo>
                  <a:pt x="2091725" y="2961290"/>
                </a:lnTo>
                <a:cubicBezTo>
                  <a:pt x="2091725" y="3118258"/>
                  <a:pt x="2188564" y="3196741"/>
                  <a:pt x="2324139" y="3196741"/>
                </a:cubicBezTo>
                <a:cubicBezTo>
                  <a:pt x="2459713" y="3196741"/>
                  <a:pt x="2556552" y="3118258"/>
                  <a:pt x="2556552" y="2961290"/>
                </a:cubicBezTo>
                <a:cubicBezTo>
                  <a:pt x="2556552" y="2961290"/>
                  <a:pt x="2556552" y="2961290"/>
                  <a:pt x="2556552" y="2510007"/>
                </a:cubicBezTo>
                <a:cubicBezTo>
                  <a:pt x="2556552" y="2510007"/>
                  <a:pt x="2556552" y="2510007"/>
                  <a:pt x="2905173" y="2510007"/>
                </a:cubicBezTo>
                <a:cubicBezTo>
                  <a:pt x="2905173" y="2510007"/>
                  <a:pt x="2905173" y="2510007"/>
                  <a:pt x="3350633" y="3079016"/>
                </a:cubicBezTo>
                <a:cubicBezTo>
                  <a:pt x="3408736" y="3157500"/>
                  <a:pt x="3466840" y="3196741"/>
                  <a:pt x="3563679" y="3196741"/>
                </a:cubicBezTo>
                <a:cubicBezTo>
                  <a:pt x="3679886" y="3196741"/>
                  <a:pt x="3796093" y="3098637"/>
                  <a:pt x="3796093" y="2980911"/>
                </a:cubicBezTo>
                <a:cubicBezTo>
                  <a:pt x="3796093" y="2902427"/>
                  <a:pt x="3757357" y="2863185"/>
                  <a:pt x="3718621" y="2804322"/>
                </a:cubicBezTo>
                <a:cubicBezTo>
                  <a:pt x="3718621" y="2804322"/>
                  <a:pt x="3718621" y="2804322"/>
                  <a:pt x="3408736" y="2431523"/>
                </a:cubicBezTo>
                <a:cubicBezTo>
                  <a:pt x="3660518" y="2313797"/>
                  <a:pt x="3815461" y="2117588"/>
                  <a:pt x="3815461" y="1784031"/>
                </a:cubicBezTo>
                <a:cubicBezTo>
                  <a:pt x="3815461" y="1587821"/>
                  <a:pt x="3757357" y="1430854"/>
                  <a:pt x="3641150" y="1313128"/>
                </a:cubicBezTo>
                <a:cubicBezTo>
                  <a:pt x="3505575" y="1175781"/>
                  <a:pt x="3311897" y="1097297"/>
                  <a:pt x="3040748" y="1097297"/>
                </a:cubicBezTo>
                <a:cubicBezTo>
                  <a:pt x="3040748" y="1097297"/>
                  <a:pt x="3040748" y="1097297"/>
                  <a:pt x="2324139" y="1097297"/>
                </a:cubicBezTo>
                <a:close/>
                <a:moveTo>
                  <a:pt x="17799025" y="1077676"/>
                </a:moveTo>
                <a:cubicBezTo>
                  <a:pt x="17682821" y="1077676"/>
                  <a:pt x="17585981" y="1156160"/>
                  <a:pt x="17585981" y="1313128"/>
                </a:cubicBezTo>
                <a:cubicBezTo>
                  <a:pt x="17585981" y="1313128"/>
                  <a:pt x="17585981" y="1313128"/>
                  <a:pt x="17585981" y="2941669"/>
                </a:cubicBezTo>
                <a:cubicBezTo>
                  <a:pt x="17585981" y="3098637"/>
                  <a:pt x="17682821" y="3177120"/>
                  <a:pt x="17799025" y="3177120"/>
                </a:cubicBezTo>
                <a:lnTo>
                  <a:pt x="18883625" y="3177120"/>
                </a:lnTo>
                <a:cubicBezTo>
                  <a:pt x="18999833" y="3177120"/>
                  <a:pt x="19077301" y="3098637"/>
                  <a:pt x="19077301" y="2980911"/>
                </a:cubicBezTo>
                <a:cubicBezTo>
                  <a:pt x="19077301" y="2843564"/>
                  <a:pt x="18999833" y="2765080"/>
                  <a:pt x="18883625" y="2765080"/>
                </a:cubicBezTo>
                <a:cubicBezTo>
                  <a:pt x="18883625" y="2765080"/>
                  <a:pt x="18883625" y="2765080"/>
                  <a:pt x="18031441" y="2765080"/>
                </a:cubicBezTo>
                <a:cubicBezTo>
                  <a:pt x="18031441" y="2765080"/>
                  <a:pt x="18031441" y="2765080"/>
                  <a:pt x="18031441" y="1313128"/>
                </a:cubicBezTo>
                <a:cubicBezTo>
                  <a:pt x="18031441" y="1156160"/>
                  <a:pt x="17934601" y="1077676"/>
                  <a:pt x="17799025" y="1077676"/>
                </a:cubicBezTo>
                <a:close/>
                <a:moveTo>
                  <a:pt x="15707301" y="1077676"/>
                </a:moveTo>
                <a:cubicBezTo>
                  <a:pt x="15571727" y="1077676"/>
                  <a:pt x="15474889" y="1156160"/>
                  <a:pt x="15474889" y="1313128"/>
                </a:cubicBezTo>
                <a:cubicBezTo>
                  <a:pt x="15474889" y="1313128"/>
                  <a:pt x="15474889" y="1313128"/>
                  <a:pt x="15474889" y="2941669"/>
                </a:cubicBezTo>
                <a:cubicBezTo>
                  <a:pt x="15474889" y="3098637"/>
                  <a:pt x="15571727" y="3177120"/>
                  <a:pt x="15707301" y="3177120"/>
                </a:cubicBezTo>
                <a:lnTo>
                  <a:pt x="16772533" y="3177120"/>
                </a:lnTo>
                <a:cubicBezTo>
                  <a:pt x="16888737" y="3177120"/>
                  <a:pt x="16985577" y="3098637"/>
                  <a:pt x="16985577" y="2980911"/>
                </a:cubicBezTo>
                <a:cubicBezTo>
                  <a:pt x="16985577" y="2843564"/>
                  <a:pt x="16888737" y="2765080"/>
                  <a:pt x="16772533" y="2765080"/>
                </a:cubicBezTo>
                <a:cubicBezTo>
                  <a:pt x="16772533" y="2765080"/>
                  <a:pt x="16772533" y="2765080"/>
                  <a:pt x="15939717" y="2765080"/>
                </a:cubicBezTo>
                <a:cubicBezTo>
                  <a:pt x="15939717" y="2765080"/>
                  <a:pt x="15939717" y="2765080"/>
                  <a:pt x="15939717" y="1313128"/>
                </a:cubicBezTo>
                <a:cubicBezTo>
                  <a:pt x="15939717" y="1156160"/>
                  <a:pt x="15842877" y="1077676"/>
                  <a:pt x="15707301" y="1077676"/>
                </a:cubicBezTo>
                <a:close/>
                <a:moveTo>
                  <a:pt x="7417875" y="1077676"/>
                </a:moveTo>
                <a:cubicBezTo>
                  <a:pt x="7301669" y="1077676"/>
                  <a:pt x="7166093" y="1156160"/>
                  <a:pt x="7166093" y="1293507"/>
                </a:cubicBezTo>
                <a:cubicBezTo>
                  <a:pt x="7166093" y="1293507"/>
                  <a:pt x="7166093" y="1293507"/>
                  <a:pt x="7166093" y="2961290"/>
                </a:cubicBezTo>
                <a:cubicBezTo>
                  <a:pt x="7166093" y="3118258"/>
                  <a:pt x="7262933" y="3196741"/>
                  <a:pt x="7398507" y="3196741"/>
                </a:cubicBezTo>
                <a:cubicBezTo>
                  <a:pt x="7514713" y="3196741"/>
                  <a:pt x="7611553" y="3118258"/>
                  <a:pt x="7611553" y="2961290"/>
                </a:cubicBezTo>
                <a:cubicBezTo>
                  <a:pt x="7611553" y="2961290"/>
                  <a:pt x="7611553" y="2961290"/>
                  <a:pt x="7611553" y="1940999"/>
                </a:cubicBezTo>
                <a:cubicBezTo>
                  <a:pt x="7611553" y="1940999"/>
                  <a:pt x="7611553" y="1940999"/>
                  <a:pt x="7998909" y="2549249"/>
                </a:cubicBezTo>
                <a:cubicBezTo>
                  <a:pt x="8057013" y="2627733"/>
                  <a:pt x="8115117" y="2666975"/>
                  <a:pt x="8192589" y="2666975"/>
                </a:cubicBezTo>
                <a:cubicBezTo>
                  <a:pt x="8289427" y="2666975"/>
                  <a:pt x="8347531" y="2627733"/>
                  <a:pt x="8386265" y="2549249"/>
                </a:cubicBezTo>
                <a:cubicBezTo>
                  <a:pt x="8386265" y="2549249"/>
                  <a:pt x="8386265" y="2549249"/>
                  <a:pt x="8773621" y="1921378"/>
                </a:cubicBezTo>
                <a:cubicBezTo>
                  <a:pt x="8773621" y="1921378"/>
                  <a:pt x="8773621" y="1921378"/>
                  <a:pt x="8773621" y="2961290"/>
                </a:cubicBezTo>
                <a:cubicBezTo>
                  <a:pt x="8773621" y="3118258"/>
                  <a:pt x="8870461" y="3196741"/>
                  <a:pt x="9006037" y="3196741"/>
                </a:cubicBezTo>
                <a:cubicBezTo>
                  <a:pt x="9141611" y="3196741"/>
                  <a:pt x="9238449" y="3118258"/>
                  <a:pt x="9238449" y="2961290"/>
                </a:cubicBezTo>
                <a:lnTo>
                  <a:pt x="9238449" y="1293507"/>
                </a:lnTo>
                <a:cubicBezTo>
                  <a:pt x="9238449" y="1156160"/>
                  <a:pt x="9102875" y="1077676"/>
                  <a:pt x="8986669" y="1077676"/>
                </a:cubicBezTo>
                <a:cubicBezTo>
                  <a:pt x="8870461" y="1077676"/>
                  <a:pt x="8792989" y="1116918"/>
                  <a:pt x="8734887" y="1215023"/>
                </a:cubicBezTo>
                <a:cubicBezTo>
                  <a:pt x="8734887" y="1215023"/>
                  <a:pt x="8734887" y="1215023"/>
                  <a:pt x="8211955" y="2097967"/>
                </a:cubicBezTo>
                <a:cubicBezTo>
                  <a:pt x="8211955" y="2097967"/>
                  <a:pt x="8211955" y="2097967"/>
                  <a:pt x="7669657" y="1215023"/>
                </a:cubicBezTo>
                <a:cubicBezTo>
                  <a:pt x="7611553" y="1116918"/>
                  <a:pt x="7534081" y="1077676"/>
                  <a:pt x="7417875" y="1077676"/>
                </a:cubicBezTo>
                <a:close/>
                <a:moveTo>
                  <a:pt x="5461725" y="1058055"/>
                </a:moveTo>
                <a:cubicBezTo>
                  <a:pt x="5306783" y="1058055"/>
                  <a:pt x="5229311" y="1136539"/>
                  <a:pt x="5171208" y="1234644"/>
                </a:cubicBezTo>
                <a:cubicBezTo>
                  <a:pt x="5171208" y="1234644"/>
                  <a:pt x="5171208" y="1234644"/>
                  <a:pt x="4454599" y="2882806"/>
                </a:cubicBezTo>
                <a:cubicBezTo>
                  <a:pt x="4435231" y="2922048"/>
                  <a:pt x="4435231" y="2961290"/>
                  <a:pt x="4435231" y="3000532"/>
                </a:cubicBezTo>
                <a:cubicBezTo>
                  <a:pt x="4435231" y="3118258"/>
                  <a:pt x="4532070" y="3196741"/>
                  <a:pt x="4648277" y="3196741"/>
                </a:cubicBezTo>
                <a:cubicBezTo>
                  <a:pt x="4745116" y="3196741"/>
                  <a:pt x="4803219" y="3157500"/>
                  <a:pt x="4841955" y="3059395"/>
                </a:cubicBezTo>
                <a:cubicBezTo>
                  <a:pt x="4841955" y="3059395"/>
                  <a:pt x="4841955" y="3059395"/>
                  <a:pt x="4996897" y="2706217"/>
                </a:cubicBezTo>
                <a:cubicBezTo>
                  <a:pt x="4996897" y="2706217"/>
                  <a:pt x="4996897" y="2706217"/>
                  <a:pt x="5907185" y="2706217"/>
                </a:cubicBezTo>
                <a:lnTo>
                  <a:pt x="6042760" y="3059395"/>
                </a:lnTo>
                <a:cubicBezTo>
                  <a:pt x="6081495" y="3157500"/>
                  <a:pt x="6158967" y="3196741"/>
                  <a:pt x="6255805" y="3196741"/>
                </a:cubicBezTo>
                <a:cubicBezTo>
                  <a:pt x="6372013" y="3196741"/>
                  <a:pt x="6468853" y="3118258"/>
                  <a:pt x="6468853" y="3000532"/>
                </a:cubicBezTo>
                <a:cubicBezTo>
                  <a:pt x="6468853" y="2961290"/>
                  <a:pt x="6468853" y="2922048"/>
                  <a:pt x="6449485" y="2882806"/>
                </a:cubicBezTo>
                <a:cubicBezTo>
                  <a:pt x="6449485" y="2882806"/>
                  <a:pt x="6449485" y="2882806"/>
                  <a:pt x="5732875" y="1234644"/>
                </a:cubicBezTo>
                <a:cubicBezTo>
                  <a:pt x="5674771" y="1136539"/>
                  <a:pt x="5597300" y="1058055"/>
                  <a:pt x="5461725" y="1058055"/>
                </a:cubicBezTo>
                <a:close/>
                <a:moveTo>
                  <a:pt x="847119" y="0"/>
                </a:moveTo>
                <a:lnTo>
                  <a:pt x="14021983" y="0"/>
                </a:lnTo>
                <a:lnTo>
                  <a:pt x="14021847" y="630"/>
                </a:lnTo>
                <a:cubicBezTo>
                  <a:pt x="14018669" y="15384"/>
                  <a:pt x="13993249" y="133416"/>
                  <a:pt x="13789889" y="1077676"/>
                </a:cubicBezTo>
                <a:cubicBezTo>
                  <a:pt x="13731785" y="1058055"/>
                  <a:pt x="13673681" y="1058055"/>
                  <a:pt x="13615577" y="1058055"/>
                </a:cubicBezTo>
                <a:cubicBezTo>
                  <a:pt x="12976439" y="1058055"/>
                  <a:pt x="12511613" y="1548579"/>
                  <a:pt x="12511613" y="2137209"/>
                </a:cubicBezTo>
                <a:cubicBezTo>
                  <a:pt x="12511613" y="2745459"/>
                  <a:pt x="12957071" y="3216362"/>
                  <a:pt x="13596209" y="3216362"/>
                </a:cubicBezTo>
                <a:cubicBezTo>
                  <a:pt x="14235349" y="3216362"/>
                  <a:pt x="14700175" y="2725838"/>
                  <a:pt x="14700175" y="2137209"/>
                </a:cubicBezTo>
                <a:cubicBezTo>
                  <a:pt x="14700175" y="1960620"/>
                  <a:pt x="14661441" y="1784031"/>
                  <a:pt x="14583969" y="1646684"/>
                </a:cubicBezTo>
                <a:cubicBezTo>
                  <a:pt x="14583969" y="1646684"/>
                  <a:pt x="14583969" y="1646684"/>
                  <a:pt x="14196613" y="1940999"/>
                </a:cubicBezTo>
                <a:cubicBezTo>
                  <a:pt x="14215981" y="1999862"/>
                  <a:pt x="14235349" y="2078346"/>
                  <a:pt x="14235349" y="2137209"/>
                </a:cubicBezTo>
                <a:cubicBezTo>
                  <a:pt x="14235349" y="2510007"/>
                  <a:pt x="13983565" y="2784701"/>
                  <a:pt x="13615577" y="2784701"/>
                </a:cubicBezTo>
                <a:cubicBezTo>
                  <a:pt x="13247589" y="2784701"/>
                  <a:pt x="12976439" y="2490386"/>
                  <a:pt x="12976439" y="2137209"/>
                </a:cubicBezTo>
                <a:cubicBezTo>
                  <a:pt x="12976439" y="1784031"/>
                  <a:pt x="13228221" y="1489716"/>
                  <a:pt x="13596209" y="1489716"/>
                </a:cubicBezTo>
                <a:cubicBezTo>
                  <a:pt x="13634945" y="1489716"/>
                  <a:pt x="13654313" y="1489716"/>
                  <a:pt x="13693049" y="1489716"/>
                </a:cubicBezTo>
                <a:cubicBezTo>
                  <a:pt x="13693049" y="1489716"/>
                  <a:pt x="13693049" y="1489716"/>
                  <a:pt x="13518737" y="2274556"/>
                </a:cubicBezTo>
                <a:cubicBezTo>
                  <a:pt x="13518737" y="2274556"/>
                  <a:pt x="13518737" y="2274556"/>
                  <a:pt x="13576841" y="2313797"/>
                </a:cubicBezTo>
                <a:cubicBezTo>
                  <a:pt x="13576841" y="2313797"/>
                  <a:pt x="13576841" y="2313797"/>
                  <a:pt x="15302449" y="208867"/>
                </a:cubicBezTo>
                <a:lnTo>
                  <a:pt x="15473677" y="0"/>
                </a:lnTo>
                <a:lnTo>
                  <a:pt x="19895817" y="0"/>
                </a:lnTo>
                <a:lnTo>
                  <a:pt x="20086775" y="11552"/>
                </a:lnTo>
                <a:cubicBezTo>
                  <a:pt x="20517065" y="68345"/>
                  <a:pt x="20714017" y="312956"/>
                  <a:pt x="20739957" y="787481"/>
                </a:cubicBezTo>
                <a:lnTo>
                  <a:pt x="20742935" y="901016"/>
                </a:lnTo>
                <a:lnTo>
                  <a:pt x="20742935" y="3471506"/>
                </a:lnTo>
                <a:lnTo>
                  <a:pt x="20739957" y="3585041"/>
                </a:lnTo>
                <a:cubicBezTo>
                  <a:pt x="20710027" y="4132570"/>
                  <a:pt x="20452417" y="4374000"/>
                  <a:pt x="19871385" y="4374000"/>
                </a:cubicBezTo>
                <a:lnTo>
                  <a:pt x="871552" y="4374000"/>
                </a:lnTo>
                <a:cubicBezTo>
                  <a:pt x="251782" y="4374000"/>
                  <a:pt x="0" y="4099306"/>
                  <a:pt x="0" y="3471435"/>
                </a:cubicBezTo>
                <a:cubicBezTo>
                  <a:pt x="0" y="3471435"/>
                  <a:pt x="0" y="3471435"/>
                  <a:pt x="0" y="901087"/>
                </a:cubicBezTo>
                <a:cubicBezTo>
                  <a:pt x="0" y="351700"/>
                  <a:pt x="192771" y="72714"/>
                  <a:pt x="656161" y="11552"/>
                </a:cubicBezTo>
                <a:close/>
              </a:path>
            </a:pathLst>
          </a:custGeom>
          <a:solidFill>
            <a:schemeClr val="bg1"/>
          </a:solidFill>
          <a:ln w="9525">
            <a:noFill/>
            <a:miter lim="800000"/>
            <a:headEnd/>
            <a:tailEnd/>
          </a:ln>
          <a:effectLst/>
        </p:spPr>
        <p:txBody>
          <a:bodyPr wrap="square">
            <a:noAutofit/>
          </a:bodyPr>
          <a:lstStyle>
            <a:lvl1pPr marL="0" indent="0">
              <a:buNone/>
              <a:defRPr sz="100">
                <a:noFill/>
              </a:defRPr>
            </a:lvl1pPr>
            <a:lvl2pPr>
              <a:defRPr>
                <a:noFill/>
              </a:defRPr>
            </a:lvl2pPr>
            <a:lvl3pPr>
              <a:defRPr>
                <a:noFill/>
              </a:defRPr>
            </a:lvl3pPr>
            <a:lvl4pPr>
              <a:defRPr>
                <a:noFill/>
              </a:defRPr>
            </a:lvl4pPr>
            <a:lvl5pPr>
              <a:defRPr>
                <a:noFill/>
              </a:defRPr>
            </a:lvl5pPr>
          </a:lstStyle>
          <a:p>
            <a:pPr lvl="0"/>
            <a:r>
              <a:rPr lang="en-GB"/>
              <a:t>vel</a:t>
            </a:r>
          </a:p>
        </p:txBody>
      </p:sp>
      <p:sp>
        <p:nvSpPr>
          <p:cNvPr id="10" name="Slide Number Placeholder 5" hidden="1">
            <a:extLst>
              <a:ext uri="{FF2B5EF4-FFF2-40B4-BE49-F238E27FC236}">
                <a16:creationId xmlns:a16="http://schemas.microsoft.com/office/drawing/2014/main" id="{DB3E8C21-56F3-43EB-BF88-4EEB72C3F75D}"/>
              </a:ext>
            </a:extLst>
          </p:cNvPr>
          <p:cNvSpPr>
            <a:spLocks noGrp="1"/>
          </p:cNvSpPr>
          <p:nvPr>
            <p:ph type="sldNum" sz="quarter" idx="4"/>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11" name="Footer Placeholder 4" hidden="1">
            <a:extLst>
              <a:ext uri="{FF2B5EF4-FFF2-40B4-BE49-F238E27FC236}">
                <a16:creationId xmlns:a16="http://schemas.microsoft.com/office/drawing/2014/main" id="{35D10A95-9140-4D91-8BAE-655D1782D7D6}"/>
              </a:ext>
            </a:extLst>
          </p:cNvPr>
          <p:cNvSpPr>
            <a:spLocks noGrp="1"/>
          </p:cNvSpPr>
          <p:nvPr>
            <p:ph type="ftr" sz="quarter" idx="3"/>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12" name="Date_DateCustomA" hidden="1">
            <a:extLst>
              <a:ext uri="{FF2B5EF4-FFF2-40B4-BE49-F238E27FC236}">
                <a16:creationId xmlns:a16="http://schemas.microsoft.com/office/drawing/2014/main" id="{3FA8083C-E59E-4629-A5C9-D403872552DF}"/>
              </a:ext>
            </a:extLst>
          </p:cNvPr>
          <p:cNvSpPr>
            <a:spLocks noGrp="1"/>
          </p:cNvSpPr>
          <p:nvPr>
            <p:ph type="dt" sz="half" idx="2"/>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a:p>
        </p:txBody>
      </p:sp>
    </p:spTree>
    <p:extLst>
      <p:ext uri="{BB962C8B-B14F-4D97-AF65-F5344CB8AC3E}">
        <p14:creationId xmlns:p14="http://schemas.microsoft.com/office/powerpoint/2010/main" val="253267664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9" Type="http://schemas.openxmlformats.org/officeDocument/2006/relationships/slideLayout" Target="../slideLayouts/slideLayout77.xml"/><Relationship Id="rId21" Type="http://schemas.openxmlformats.org/officeDocument/2006/relationships/slideLayout" Target="../slideLayouts/slideLayout59.xml"/><Relationship Id="rId34" Type="http://schemas.openxmlformats.org/officeDocument/2006/relationships/slideLayout" Target="../slideLayouts/slideLayout72.xml"/><Relationship Id="rId42" Type="http://schemas.openxmlformats.org/officeDocument/2006/relationships/slideLayout" Target="../slideLayouts/slideLayout80.xml"/><Relationship Id="rId47" Type="http://schemas.openxmlformats.org/officeDocument/2006/relationships/slideLayout" Target="../slideLayouts/slideLayout85.xml"/><Relationship Id="rId50" Type="http://schemas.openxmlformats.org/officeDocument/2006/relationships/slideLayout" Target="../slideLayouts/slideLayout88.xml"/><Relationship Id="rId55" Type="http://schemas.openxmlformats.org/officeDocument/2006/relationships/slideLayout" Target="../slideLayouts/slideLayout93.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9" Type="http://schemas.openxmlformats.org/officeDocument/2006/relationships/slideLayout" Target="../slideLayouts/slideLayout67.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slideLayout" Target="../slideLayouts/slideLayout75.xml"/><Relationship Id="rId40" Type="http://schemas.openxmlformats.org/officeDocument/2006/relationships/slideLayout" Target="../slideLayouts/slideLayout78.xml"/><Relationship Id="rId45" Type="http://schemas.openxmlformats.org/officeDocument/2006/relationships/slideLayout" Target="../slideLayouts/slideLayout83.xml"/><Relationship Id="rId53" Type="http://schemas.openxmlformats.org/officeDocument/2006/relationships/slideLayout" Target="../slideLayouts/slideLayout91.xml"/><Relationship Id="rId58" Type="http://schemas.openxmlformats.org/officeDocument/2006/relationships/tags" Target="../tags/tag3.xml"/><Relationship Id="rId5" Type="http://schemas.openxmlformats.org/officeDocument/2006/relationships/slideLayout" Target="../slideLayouts/slideLayout43.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43" Type="http://schemas.openxmlformats.org/officeDocument/2006/relationships/slideLayout" Target="../slideLayouts/slideLayout81.xml"/><Relationship Id="rId48" Type="http://schemas.openxmlformats.org/officeDocument/2006/relationships/slideLayout" Target="../slideLayouts/slideLayout86.xml"/><Relationship Id="rId56" Type="http://schemas.openxmlformats.org/officeDocument/2006/relationships/slideLayout" Target="../slideLayouts/slideLayout94.xml"/><Relationship Id="rId8" Type="http://schemas.openxmlformats.org/officeDocument/2006/relationships/slideLayout" Target="../slideLayouts/slideLayout46.xml"/><Relationship Id="rId51" Type="http://schemas.openxmlformats.org/officeDocument/2006/relationships/slideLayout" Target="../slideLayouts/slideLayout89.xml"/><Relationship Id="rId3" Type="http://schemas.openxmlformats.org/officeDocument/2006/relationships/slideLayout" Target="../slideLayouts/slideLayout41.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slideLayout" Target="../slideLayouts/slideLayout76.xml"/><Relationship Id="rId46" Type="http://schemas.openxmlformats.org/officeDocument/2006/relationships/slideLayout" Target="../slideLayouts/slideLayout84.xml"/><Relationship Id="rId59" Type="http://schemas.openxmlformats.org/officeDocument/2006/relationships/oleObject" Target="../embeddings/oleObject2.bin"/><Relationship Id="rId20" Type="http://schemas.openxmlformats.org/officeDocument/2006/relationships/slideLayout" Target="../slideLayouts/slideLayout58.xml"/><Relationship Id="rId41" Type="http://schemas.openxmlformats.org/officeDocument/2006/relationships/slideLayout" Target="../slideLayouts/slideLayout79.xml"/><Relationship Id="rId54" Type="http://schemas.openxmlformats.org/officeDocument/2006/relationships/slideLayout" Target="../slideLayouts/slideLayout92.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49" Type="http://schemas.openxmlformats.org/officeDocument/2006/relationships/slideLayout" Target="../slideLayouts/slideLayout87.xml"/><Relationship Id="rId57" Type="http://schemas.openxmlformats.org/officeDocument/2006/relationships/theme" Target="../theme/theme2.xml"/><Relationship Id="rId10" Type="http://schemas.openxmlformats.org/officeDocument/2006/relationships/slideLayout" Target="../slideLayouts/slideLayout48.xml"/><Relationship Id="rId31" Type="http://schemas.openxmlformats.org/officeDocument/2006/relationships/slideLayout" Target="../slideLayouts/slideLayout69.xml"/><Relationship Id="rId44" Type="http://schemas.openxmlformats.org/officeDocument/2006/relationships/slideLayout" Target="../slideLayouts/slideLayout82.xml"/><Relationship Id="rId52" Type="http://schemas.openxmlformats.org/officeDocument/2006/relationships/slideLayout" Target="../slideLayouts/slideLayout90.xml"/><Relationship Id="rId6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ADD9528-FE39-212F-4BDB-45018E306359}"/>
              </a:ext>
            </a:extLst>
          </p:cNvPr>
          <p:cNvGraphicFramePr>
            <a:graphicFrameLocks noChangeAspect="1"/>
          </p:cNvGraphicFramePr>
          <p:nvPr userDrawn="1">
            <p:custDataLst>
              <p:tags r:id="rId40"/>
            </p:custDataLst>
            <p:extLst>
              <p:ext uri="{D42A27DB-BD31-4B8C-83A1-F6EECF244321}">
                <p14:modId xmlns:p14="http://schemas.microsoft.com/office/powerpoint/2010/main" val="4263163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592" imgH="595" progId="TCLayout.ActiveDocument.1">
                  <p:embed/>
                </p:oleObj>
              </mc:Choice>
              <mc:Fallback>
                <p:oleObj name="think-cell Slide" r:id="rId41" imgW="592" imgH="595" progId="TCLayout.ActiveDocument.1">
                  <p:embed/>
                  <p:pic>
                    <p:nvPicPr>
                      <p:cNvPr id="4" name="think-cell data - do not delete" hidden="1">
                        <a:extLst>
                          <a:ext uri="{FF2B5EF4-FFF2-40B4-BE49-F238E27FC236}">
                            <a16:creationId xmlns:a16="http://schemas.microsoft.com/office/drawing/2014/main" id="{3ADD9528-FE39-212F-4BDB-45018E306359}"/>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19" name="Freeform 5">
            <a:extLst>
              <a:ext uri="{FF2B5EF4-FFF2-40B4-BE49-F238E27FC236}">
                <a16:creationId xmlns:a16="http://schemas.microsoft.com/office/drawing/2014/main" id="{B3ADD142-CEBB-4289-94EB-AD59CA19C4E8}"/>
              </a:ext>
            </a:extLst>
          </p:cNvPr>
          <p:cNvSpPr>
            <a:spLocks noEditPoints="1"/>
          </p:cNvSpPr>
          <p:nvPr userDrawn="1"/>
        </p:nvSpPr>
        <p:spPr bwMode="auto">
          <a:xfrm>
            <a:off x="798513" y="6159600"/>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a-DK"/>
          </a:p>
        </p:txBody>
      </p:sp>
      <p:sp>
        <p:nvSpPr>
          <p:cNvPr id="2" name="Title Placeholder 1"/>
          <p:cNvSpPr>
            <a:spLocks noGrp="1"/>
          </p:cNvSpPr>
          <p:nvPr>
            <p:ph type="title"/>
          </p:nvPr>
        </p:nvSpPr>
        <p:spPr bwMode="auto">
          <a:xfrm>
            <a:off x="798513" y="312840"/>
            <a:ext cx="10588625" cy="748800"/>
          </a:xfrm>
          <a:prstGeom prst="rect">
            <a:avLst/>
          </a:prstGeom>
          <a:noFill/>
          <a:ln w="9525">
            <a:noFill/>
            <a:miter lim="800000"/>
            <a:headEnd/>
            <a:tailEnd/>
          </a:ln>
        </p:spPr>
        <p:txBody>
          <a:bodyPr vert="horz" wrap="square" lIns="0" tIns="18000" rIns="0" bIns="0" numCol="1" anchor="t" anchorCtr="0" compatLnSpc="1">
            <a:prstTxWarp prst="textNoShape">
              <a:avLst/>
            </a:prstTxWarp>
            <a:noAutofit/>
          </a:bodyPr>
          <a:lstStyle/>
          <a:p>
            <a:pPr lvl="0"/>
            <a:r>
              <a:rPr lang="en-GB" noProof="0"/>
              <a:t>Presentation title</a:t>
            </a:r>
            <a:br>
              <a:rPr lang="en-GB" noProof="0"/>
            </a:br>
            <a:r>
              <a:rPr lang="en-GB" noProof="0"/>
              <a:t>(in cyan)</a:t>
            </a:r>
          </a:p>
        </p:txBody>
      </p:sp>
      <p:sp>
        <p:nvSpPr>
          <p:cNvPr id="6" name="Slide Number Placeholder 5"/>
          <p:cNvSpPr>
            <a:spLocks noGrp="1"/>
          </p:cNvSpPr>
          <p:nvPr>
            <p:ph type="sldNum" sz="quarter" idx="4"/>
          </p:nvPr>
        </p:nvSpPr>
        <p:spPr>
          <a:xfrm>
            <a:off x="10907200" y="6282000"/>
            <a:ext cx="479938" cy="155611"/>
          </a:xfrm>
          <a:prstGeom prst="rect">
            <a:avLst/>
          </a:prstGeom>
        </p:spPr>
        <p:txBody>
          <a:bodyPr vert="horz" wrap="square" lIns="0" tIns="0" rIns="0" bIns="0" numCol="1" anchor="ctr" anchorCtr="0" compatLnSpc="1">
            <a:prstTxWarp prst="textNoShape">
              <a:avLst/>
            </a:prstTxWarp>
          </a:bodyPr>
          <a:lstStyle>
            <a:lvl1pPr algn="r">
              <a:defRPr sz="800" b="0" baseline="0"/>
            </a:lvl1pPr>
          </a:lstStyle>
          <a:p>
            <a:fld id="{31421AFA-3AE7-4CEA-BC9B-447859BED57B}" type="slidenum">
              <a:rPr lang="en-GB" smtClean="0"/>
              <a:pPr/>
              <a:t>‹#›</a:t>
            </a:fld>
            <a:endParaRPr lang="en-GB"/>
          </a:p>
        </p:txBody>
      </p:sp>
      <p:sp>
        <p:nvSpPr>
          <p:cNvPr id="1031" name="Rectangle 7"/>
          <p:cNvSpPr>
            <a:spLocks noGrp="1" noChangeArrowheads="1"/>
          </p:cNvSpPr>
          <p:nvPr>
            <p:ph type="body" idx="1"/>
          </p:nvPr>
        </p:nvSpPr>
        <p:spPr bwMode="auto">
          <a:xfrm>
            <a:off x="798512" y="1648207"/>
            <a:ext cx="10588625" cy="406017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4 No bullet text 18</a:t>
            </a:r>
          </a:p>
          <a:p>
            <a:pPr lvl="4"/>
            <a:r>
              <a:rPr lang="en-GB" noProof="0"/>
              <a:t>5 </a:t>
            </a:r>
            <a:r>
              <a:rPr lang="en-GB" noProof="0" err="1"/>
              <a:t>Megaheader</a:t>
            </a:r>
            <a:r>
              <a:rPr lang="en-GB" noProof="0"/>
              <a:t> caps 48</a:t>
            </a:r>
          </a:p>
          <a:p>
            <a:pPr lvl="5"/>
            <a:r>
              <a:rPr lang="en-GB" noProof="0"/>
              <a:t>6 Header caps 18</a:t>
            </a:r>
          </a:p>
          <a:p>
            <a:pPr lvl="6"/>
            <a:r>
              <a:rPr lang="en-GB" noProof="0"/>
              <a:t>7 Text 18</a:t>
            </a:r>
          </a:p>
          <a:p>
            <a:pPr lvl="7"/>
            <a:r>
              <a:rPr lang="en-GB" noProof="0"/>
              <a:t>8 Number 16</a:t>
            </a:r>
          </a:p>
          <a:p>
            <a:pPr lvl="8"/>
            <a:r>
              <a:rPr lang="en-GB" noProof="0"/>
              <a:t>9 Letter 16</a:t>
            </a:r>
          </a:p>
          <a:p>
            <a:pPr lvl="8"/>
            <a:endParaRPr lang="en-GB" noProof="0"/>
          </a:p>
        </p:txBody>
      </p:sp>
      <p:sp>
        <p:nvSpPr>
          <p:cNvPr id="5" name="Footer Placeholder 4">
            <a:extLst>
              <a:ext uri="{FF2B5EF4-FFF2-40B4-BE49-F238E27FC236}">
                <a16:creationId xmlns:a16="http://schemas.microsoft.com/office/drawing/2014/main" id="{1D9E4955-7821-481C-9AF7-C7D93767559E}"/>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a:p>
        </p:txBody>
      </p:sp>
      <p:sp>
        <p:nvSpPr>
          <p:cNvPr id="10" name="Date_DateCustomA">
            <a:extLst>
              <a:ext uri="{FF2B5EF4-FFF2-40B4-BE49-F238E27FC236}">
                <a16:creationId xmlns:a16="http://schemas.microsoft.com/office/drawing/2014/main" id="{ADC3E656-DC3F-4718-B1B2-E5B4B66615C6}"/>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8E8A079D-0F01-4087-8466-404AA9697848}" type="datetime1">
              <a:rPr lang="da-DK" smtClean="0"/>
              <a:t>04-03-2024</a:t>
            </a:fld>
            <a:endParaRPr lang="da-DK"/>
          </a:p>
        </p:txBody>
      </p:sp>
      <p:grpSp>
        <p:nvGrpSpPr>
          <p:cNvPr id="7" name="Group 6">
            <a:extLst>
              <a:ext uri="{FF2B5EF4-FFF2-40B4-BE49-F238E27FC236}">
                <a16:creationId xmlns:a16="http://schemas.microsoft.com/office/drawing/2014/main" id="{A135459E-96A0-4D48-B1D9-A034EE07E024}"/>
              </a:ext>
            </a:extLst>
          </p:cNvPr>
          <p:cNvGrpSpPr/>
          <p:nvPr userDrawn="1"/>
        </p:nvGrpSpPr>
        <p:grpSpPr>
          <a:xfrm>
            <a:off x="-1972094" y="1634370"/>
            <a:ext cx="1796791" cy="2907588"/>
            <a:chOff x="-1899137" y="-1"/>
            <a:chExt cx="1796791" cy="2907588"/>
          </a:xfrm>
        </p:grpSpPr>
        <p:grpSp>
          <p:nvGrpSpPr>
            <p:cNvPr id="11" name="Group 10">
              <a:extLst>
                <a:ext uri="{FF2B5EF4-FFF2-40B4-BE49-F238E27FC236}">
                  <a16:creationId xmlns:a16="http://schemas.microsoft.com/office/drawing/2014/main" id="{7DF113FF-8BE3-4207-A5C6-F4579EED1B78}"/>
                </a:ext>
              </a:extLst>
            </p:cNvPr>
            <p:cNvGrpSpPr/>
            <p:nvPr userDrawn="1"/>
          </p:nvGrpSpPr>
          <p:grpSpPr>
            <a:xfrm>
              <a:off x="-1899137" y="-1"/>
              <a:ext cx="1796791" cy="2907588"/>
              <a:chOff x="9009867" y="1645032"/>
              <a:chExt cx="2365739" cy="3828268"/>
            </a:xfrm>
          </p:grpSpPr>
          <p:pic>
            <p:nvPicPr>
              <p:cNvPr id="12" name="Picture 11">
                <a:extLst>
                  <a:ext uri="{FF2B5EF4-FFF2-40B4-BE49-F238E27FC236}">
                    <a16:creationId xmlns:a16="http://schemas.microsoft.com/office/drawing/2014/main" id="{5359A05F-1860-4448-A740-55E89B668802}"/>
                  </a:ext>
                </a:extLst>
              </p:cNvPr>
              <p:cNvPicPr>
                <a:picLocks noChangeAspect="1"/>
              </p:cNvPicPr>
              <p:nvPr/>
            </p:nvPicPr>
            <p:blipFill>
              <a:blip r:embed="rId43"/>
              <a:stretch>
                <a:fillRect/>
              </a:stretch>
            </p:blipFill>
            <p:spPr>
              <a:xfrm>
                <a:off x="9182748" y="1852126"/>
                <a:ext cx="599367" cy="280555"/>
              </a:xfrm>
              <a:prstGeom prst="rect">
                <a:avLst/>
              </a:prstGeom>
            </p:spPr>
          </p:pic>
          <p:sp>
            <p:nvSpPr>
              <p:cNvPr id="13" name="TextBox 12">
                <a:extLst>
                  <a:ext uri="{FF2B5EF4-FFF2-40B4-BE49-F238E27FC236}">
                    <a16:creationId xmlns:a16="http://schemas.microsoft.com/office/drawing/2014/main" id="{18399B32-2EE3-49AE-80A0-6797B01E89E6}"/>
                  </a:ext>
                </a:extLst>
              </p:cNvPr>
              <p:cNvSpPr txBox="1"/>
              <p:nvPr/>
            </p:nvSpPr>
            <p:spPr bwMode="auto">
              <a:xfrm>
                <a:off x="9199275" y="2239970"/>
                <a:ext cx="1887588" cy="85099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12700" marR="0" indent="-25400" algn="l" defTabSz="457200" rtl="0" eaLnBrk="0" fontAlgn="base" latinLnBrk="0" hangingPunct="0">
                  <a:spcBef>
                    <a:spcPct val="0"/>
                  </a:spcBef>
                  <a:spcAft>
                    <a:spcPts val="600"/>
                  </a:spcAft>
                  <a:buClrTx/>
                  <a:buSzTx/>
                  <a:tabLst/>
                </a:pPr>
                <a: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700"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14" name="Rectangle: Rounded Corners 13">
                <a:extLst>
                  <a:ext uri="{FF2B5EF4-FFF2-40B4-BE49-F238E27FC236}">
                    <a16:creationId xmlns:a16="http://schemas.microsoft.com/office/drawing/2014/main" id="{6A251040-79B2-4E75-B580-29B9D6CC1B9D}"/>
                  </a:ext>
                </a:extLst>
              </p:cNvPr>
              <p:cNvSpPr/>
              <p:nvPr/>
            </p:nvSpPr>
            <p:spPr>
              <a:xfrm>
                <a:off x="9009867" y="1645032"/>
                <a:ext cx="2365739" cy="3828268"/>
              </a:xfrm>
              <a:prstGeom prst="roundRect">
                <a:avLst>
                  <a:gd name="adj" fmla="val 3193"/>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a:solidFill>
                    <a:schemeClr val="accent3"/>
                  </a:solidFill>
                </a:endParaRPr>
              </a:p>
            </p:txBody>
          </p:sp>
        </p:grpSp>
        <p:pic>
          <p:nvPicPr>
            <p:cNvPr id="15" name="Picture 14">
              <a:extLst>
                <a:ext uri="{FF2B5EF4-FFF2-40B4-BE49-F238E27FC236}">
                  <a16:creationId xmlns:a16="http://schemas.microsoft.com/office/drawing/2014/main" id="{225B3411-6214-4AE2-A1EF-BEE63EC00B0E}"/>
                </a:ext>
              </a:extLst>
            </p:cNvPr>
            <p:cNvPicPr>
              <a:picLocks noChangeAspect="1"/>
            </p:cNvPicPr>
            <p:nvPr userDrawn="1"/>
          </p:nvPicPr>
          <p:blipFill>
            <a:blip r:embed="rId44"/>
            <a:stretch>
              <a:fillRect/>
            </a:stretch>
          </p:blipFill>
          <p:spPr>
            <a:xfrm>
              <a:off x="-1884053" y="1200637"/>
              <a:ext cx="1418614" cy="1444137"/>
            </a:xfrm>
            <a:prstGeom prst="rect">
              <a:avLst/>
            </a:prstGeom>
          </p:spPr>
        </p:pic>
      </p:grpSp>
    </p:spTree>
  </p:cSld>
  <p:clrMap bg1="lt1" tx1="dk1" bg2="lt2" tx2="dk2" accent1="accent1" accent2="accent2" accent3="accent3" accent4="accent4" accent5="accent5" accent6="accent6" hlink="hlink" folHlink="folHlink"/>
  <p:sldLayoutIdLst>
    <p:sldLayoutId id="2147483786" r:id="rId1"/>
    <p:sldLayoutId id="2147483734" r:id="rId2"/>
    <p:sldLayoutId id="2147483797" r:id="rId3"/>
    <p:sldLayoutId id="2147483748" r:id="rId4"/>
    <p:sldLayoutId id="2147483788" r:id="rId5"/>
    <p:sldLayoutId id="2147483798" r:id="rId6"/>
    <p:sldLayoutId id="2147483737" r:id="rId7"/>
    <p:sldLayoutId id="2147483791" r:id="rId8"/>
    <p:sldLayoutId id="2147483770" r:id="rId9"/>
    <p:sldLayoutId id="2147483792" r:id="rId10"/>
    <p:sldLayoutId id="2147483793" r:id="rId11"/>
    <p:sldLayoutId id="2147483771" r:id="rId12"/>
    <p:sldLayoutId id="2147483795" r:id="rId13"/>
    <p:sldLayoutId id="2147483794" r:id="rId14"/>
    <p:sldLayoutId id="2147483768" r:id="rId15"/>
    <p:sldLayoutId id="2147483773" r:id="rId16"/>
    <p:sldLayoutId id="2147483769" r:id="rId17"/>
    <p:sldLayoutId id="2147483772" r:id="rId18"/>
    <p:sldLayoutId id="2147483774" r:id="rId19"/>
    <p:sldLayoutId id="2147483775" r:id="rId20"/>
    <p:sldLayoutId id="2147483776" r:id="rId21"/>
    <p:sldLayoutId id="2147483796" r:id="rId22"/>
    <p:sldLayoutId id="2147483777" r:id="rId23"/>
    <p:sldLayoutId id="2147483783" r:id="rId24"/>
    <p:sldLayoutId id="2147483782" r:id="rId25"/>
    <p:sldLayoutId id="2147483781" r:id="rId26"/>
    <p:sldLayoutId id="2147483780" r:id="rId27"/>
    <p:sldLayoutId id="2147483779" r:id="rId28"/>
    <p:sldLayoutId id="2147483784" r:id="rId29"/>
    <p:sldLayoutId id="2147483778" r:id="rId30"/>
    <p:sldLayoutId id="2147483785" r:id="rId31"/>
    <p:sldLayoutId id="2147483749" r:id="rId32"/>
    <p:sldLayoutId id="2147483746" r:id="rId33"/>
    <p:sldLayoutId id="2147483787" r:id="rId34"/>
    <p:sldLayoutId id="2147483738" r:id="rId35"/>
    <p:sldLayoutId id="2147483747" r:id="rId36"/>
    <p:sldLayoutId id="2147483767" r:id="rId37"/>
    <p:sldLayoutId id="2147483790" r:id="rId38"/>
  </p:sldLayoutIdLst>
  <p:hf sldNum="0" hdr="0" ftr="0" dt="0"/>
  <p:txStyles>
    <p:titleStyle>
      <a:lvl1pPr algn="l" defTabSz="457189" rtl="0" eaLnBrk="1" fontAlgn="base" hangingPunct="1">
        <a:spcBef>
          <a:spcPct val="0"/>
        </a:spcBef>
        <a:spcAft>
          <a:spcPct val="0"/>
        </a:spcAft>
        <a:defRPr sz="2400" b="1" kern="1200" cap="all" spc="-50" baseline="0">
          <a:solidFill>
            <a:schemeClr val="tx2"/>
          </a:solidFill>
          <a:latin typeface="Verdana"/>
          <a:ea typeface="Verdana" pitchFamily="34" charset="0"/>
          <a:cs typeface="Verdana" pitchFamily="34" charset="0"/>
        </a:defRPr>
      </a:lvl1pPr>
      <a:lvl2pPr algn="l" defTabSz="457189"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2pPr>
      <a:lvl3pPr algn="l" defTabSz="457189"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3pPr>
      <a:lvl4pPr algn="l" defTabSz="457189"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4pPr>
      <a:lvl5pPr algn="l" defTabSz="457189"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5pPr>
      <a:lvl6pPr marL="457189" algn="l" defTabSz="457189"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6pPr>
      <a:lvl7pPr marL="914377" algn="l" defTabSz="457189"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7pPr>
      <a:lvl8pPr marL="1371566" algn="l" defTabSz="457189"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8pPr>
      <a:lvl9pPr marL="1828754" algn="l" defTabSz="457189"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9pPr>
    </p:titleStyle>
    <p:bodyStyle>
      <a:lvl1pPr marL="252000" indent="-252000" algn="l" defTabSz="457189" rtl="0" eaLnBrk="1" fontAlgn="base" hangingPunct="1">
        <a:lnSpc>
          <a:spcPct val="100000"/>
        </a:lnSpc>
        <a:spcBef>
          <a:spcPct val="0"/>
        </a:spcBef>
        <a:spcAft>
          <a:spcPts val="1200"/>
        </a:spcAft>
        <a:buFont typeface="Verdana" pitchFamily="34" charset="0"/>
        <a:buChar char="•"/>
        <a:defRPr kern="1200" spc="-50" baseline="0">
          <a:solidFill>
            <a:schemeClr val="tx1"/>
          </a:solidFill>
          <a:latin typeface="Verdana"/>
          <a:ea typeface="Verdana" pitchFamily="34" charset="0"/>
          <a:cs typeface="Verdana" pitchFamily="34" charset="0"/>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spc="-50" baseline="0">
          <a:solidFill>
            <a:schemeClr val="tx1"/>
          </a:solidFill>
          <a:latin typeface="Verdana"/>
          <a:ea typeface="Verdana" pitchFamily="34" charset="0"/>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spc="-50" baseline="0">
          <a:solidFill>
            <a:schemeClr val="tx1"/>
          </a:solidFill>
          <a:latin typeface="Verdana"/>
          <a:ea typeface="Verdana" pitchFamily="34" charset="0"/>
          <a:cs typeface="+mn-cs"/>
        </a:defRPr>
      </a:lvl3pPr>
      <a:lvl4pPr marL="0" indent="0" algn="l" defTabSz="457189" rtl="0" eaLnBrk="1" fontAlgn="base" hangingPunct="1">
        <a:lnSpc>
          <a:spcPct val="100000"/>
        </a:lnSpc>
        <a:spcBef>
          <a:spcPct val="0"/>
        </a:spcBef>
        <a:spcAft>
          <a:spcPts val="1200"/>
        </a:spcAft>
        <a:buFont typeface="Arial" panose="020B0604020202020204" pitchFamily="34" charset="0"/>
        <a:buChar char="​"/>
        <a:defRPr sz="1800" kern="1200" spc="-50" baseline="0">
          <a:solidFill>
            <a:schemeClr val="tx1"/>
          </a:solidFill>
          <a:latin typeface="Verdana"/>
          <a:ea typeface="Verdana" pitchFamily="34" charset="0"/>
          <a:cs typeface="+mn-cs"/>
        </a:defRPr>
      </a:lvl4pPr>
      <a:lvl5pPr marL="0" indent="0" algn="l" defTabSz="457189" rtl="0" eaLnBrk="1" fontAlgn="base" hangingPunct="1">
        <a:lnSpc>
          <a:spcPct val="80000"/>
        </a:lnSpc>
        <a:spcBef>
          <a:spcPct val="0"/>
        </a:spcBef>
        <a:spcAft>
          <a:spcPts val="1200"/>
        </a:spcAft>
        <a:buFont typeface="Arial" panose="020B0604020202020204" pitchFamily="34" charset="0"/>
        <a:buChar char="​"/>
        <a:defRPr sz="4800" b="1" kern="1200" cap="all" spc="-100" baseline="0">
          <a:solidFill>
            <a:schemeClr val="tx1"/>
          </a:solidFill>
          <a:latin typeface="Verdana"/>
          <a:ea typeface="Verdana" pitchFamily="34" charset="0"/>
          <a:cs typeface="+mn-cs"/>
        </a:defRPr>
      </a:lvl5pPr>
      <a:lvl6pPr marL="0" indent="0" algn="l" defTabSz="457189" rtl="0" eaLnBrk="1" latinLnBrk="0" hangingPunct="1">
        <a:spcBef>
          <a:spcPts val="0"/>
        </a:spcBef>
        <a:spcAft>
          <a:spcPts val="600"/>
        </a:spcAft>
        <a:buClr>
          <a:schemeClr val="tx2"/>
        </a:buClr>
        <a:buFont typeface="Arial" panose="020B0604020202020204" pitchFamily="34" charset="0"/>
        <a:buChar char="​"/>
        <a:defRPr sz="1800" b="1" kern="1200" cap="all" spc="-50" baseline="0">
          <a:solidFill>
            <a:schemeClr val="tx2"/>
          </a:solidFill>
          <a:latin typeface="+mn-lt"/>
          <a:ea typeface="+mn-ea"/>
          <a:cs typeface="+mn-cs"/>
        </a:defRPr>
      </a:lvl6pPr>
      <a:lvl7pPr marL="0" indent="0" algn="l" defTabSz="457189" rtl="0" eaLnBrk="1" latinLnBrk="0" hangingPunct="1">
        <a:spcBef>
          <a:spcPts val="0"/>
        </a:spcBef>
        <a:spcAft>
          <a:spcPts val="1200"/>
        </a:spcAft>
        <a:buFont typeface="Arial" panose="020B0604020202020204" pitchFamily="34" charset="0"/>
        <a:buChar char="​"/>
        <a:defRPr sz="1800" i="0" kern="1200" spc="-50">
          <a:solidFill>
            <a:schemeClr val="bg2"/>
          </a:solidFill>
          <a:latin typeface="+mn-lt"/>
          <a:ea typeface="+mn-ea"/>
          <a:cs typeface="+mn-cs"/>
        </a:defRPr>
      </a:lvl7pPr>
      <a:lvl8pPr marL="648000" indent="-252000" algn="l" defTabSz="457189" rtl="0" eaLnBrk="1" latinLnBrk="0" hangingPunct="1">
        <a:spcBef>
          <a:spcPts val="0"/>
        </a:spcBef>
        <a:spcAft>
          <a:spcPts val="1200"/>
        </a:spcAft>
        <a:buClr>
          <a:schemeClr val="bg2"/>
        </a:buClr>
        <a:buFont typeface="+mj-lt"/>
        <a:buAutoNum type="arabicPeriod"/>
        <a:defRPr sz="1600" kern="1200" spc="-50">
          <a:solidFill>
            <a:schemeClr val="tx1"/>
          </a:solidFill>
          <a:latin typeface="+mn-lt"/>
          <a:ea typeface="+mn-ea"/>
          <a:cs typeface="+mn-cs"/>
        </a:defRPr>
      </a:lvl8pPr>
      <a:lvl9pPr marL="648000" indent="-252000" algn="l" defTabSz="457189" rtl="0" eaLnBrk="1" latinLnBrk="0" hangingPunct="1">
        <a:spcBef>
          <a:spcPts val="0"/>
        </a:spcBef>
        <a:spcAft>
          <a:spcPts val="1200"/>
        </a:spcAft>
        <a:buClr>
          <a:schemeClr val="bg2"/>
        </a:buClr>
        <a:buFont typeface="+mj-lt"/>
        <a:buAutoNum type="alphaUcPeriod"/>
        <a:defRPr sz="1600" kern="1200" spc="-50">
          <a:solidFill>
            <a:schemeClr val="tx1"/>
          </a:solidFill>
          <a:latin typeface="+mn-lt"/>
          <a:ea typeface="+mn-ea"/>
          <a:cs typeface="+mn-cs"/>
        </a:defRPr>
      </a:lvl9pPr>
    </p:bodyStyle>
    <p:otherStyle>
      <a:defPPr>
        <a:defRPr lang="en-US"/>
      </a:defPPr>
      <a:lvl1pPr marL="0" algn="l" defTabSz="457189" rtl="0" eaLnBrk="1" latinLnBrk="0" hangingPunct="1">
        <a:defRPr sz="1900" kern="1200">
          <a:solidFill>
            <a:schemeClr val="tx1"/>
          </a:solidFill>
          <a:latin typeface="+mn-lt"/>
          <a:ea typeface="+mn-ea"/>
          <a:cs typeface="+mn-cs"/>
        </a:defRPr>
      </a:lvl1pPr>
      <a:lvl2pPr marL="457189" algn="l" defTabSz="457189" rtl="0" eaLnBrk="1" latinLnBrk="0" hangingPunct="1">
        <a:defRPr sz="1900" kern="1200">
          <a:solidFill>
            <a:schemeClr val="tx1"/>
          </a:solidFill>
          <a:latin typeface="+mn-lt"/>
          <a:ea typeface="+mn-ea"/>
          <a:cs typeface="+mn-cs"/>
        </a:defRPr>
      </a:lvl2pPr>
      <a:lvl3pPr marL="914377" algn="l" defTabSz="457189" rtl="0" eaLnBrk="1" latinLnBrk="0" hangingPunct="1">
        <a:defRPr sz="1900" kern="1200">
          <a:solidFill>
            <a:schemeClr val="tx1"/>
          </a:solidFill>
          <a:latin typeface="+mn-lt"/>
          <a:ea typeface="+mn-ea"/>
          <a:cs typeface="+mn-cs"/>
        </a:defRPr>
      </a:lvl3pPr>
      <a:lvl4pPr marL="1371566" algn="l" defTabSz="457189" rtl="0" eaLnBrk="1" latinLnBrk="0" hangingPunct="1">
        <a:defRPr sz="1900" kern="1200">
          <a:solidFill>
            <a:schemeClr val="tx1"/>
          </a:solidFill>
          <a:latin typeface="+mn-lt"/>
          <a:ea typeface="+mn-ea"/>
          <a:cs typeface="+mn-cs"/>
        </a:defRPr>
      </a:lvl4pPr>
      <a:lvl5pPr marL="1828754" algn="l" defTabSz="457189" rtl="0" eaLnBrk="1" latinLnBrk="0" hangingPunct="1">
        <a:defRPr sz="1900" kern="1200">
          <a:solidFill>
            <a:schemeClr val="tx1"/>
          </a:solidFill>
          <a:latin typeface="+mn-lt"/>
          <a:ea typeface="+mn-ea"/>
          <a:cs typeface="+mn-cs"/>
        </a:defRPr>
      </a:lvl5pPr>
      <a:lvl6pPr marL="2285943" algn="l" defTabSz="457189" rtl="0" eaLnBrk="1" latinLnBrk="0" hangingPunct="1">
        <a:defRPr sz="1900" kern="1200">
          <a:solidFill>
            <a:schemeClr val="tx1"/>
          </a:solidFill>
          <a:latin typeface="+mn-lt"/>
          <a:ea typeface="+mn-ea"/>
          <a:cs typeface="+mn-cs"/>
        </a:defRPr>
      </a:lvl6pPr>
      <a:lvl7pPr marL="2743131" algn="l" defTabSz="457189" rtl="0" eaLnBrk="1" latinLnBrk="0" hangingPunct="1">
        <a:defRPr sz="1900" kern="1200">
          <a:solidFill>
            <a:schemeClr val="tx1"/>
          </a:solidFill>
          <a:latin typeface="+mn-lt"/>
          <a:ea typeface="+mn-ea"/>
          <a:cs typeface="+mn-cs"/>
        </a:defRPr>
      </a:lvl7pPr>
      <a:lvl8pPr marL="3200320" algn="l" defTabSz="457189" rtl="0" eaLnBrk="1" latinLnBrk="0" hangingPunct="1">
        <a:defRPr sz="1900" kern="1200">
          <a:solidFill>
            <a:schemeClr val="tx1"/>
          </a:solidFill>
          <a:latin typeface="+mn-lt"/>
          <a:ea typeface="+mn-ea"/>
          <a:cs typeface="+mn-cs"/>
        </a:defRPr>
      </a:lvl8pPr>
      <a:lvl9pPr marL="3657509" algn="l" defTabSz="457189"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659" userDrawn="1">
          <p15:clr>
            <a:srgbClr val="F26B43"/>
          </p15:clr>
        </p15:guide>
        <p15:guide id="2" pos="7173" userDrawn="1">
          <p15:clr>
            <a:srgbClr val="F26B43"/>
          </p15:clr>
        </p15:guide>
        <p15:guide id="3" orient="horz" pos="1036" userDrawn="1">
          <p15:clr>
            <a:srgbClr val="F26B43"/>
          </p15:clr>
        </p15:guide>
        <p15:guide id="4" orient="horz" pos="3595" userDrawn="1">
          <p15:clr>
            <a:srgbClr val="F26B43"/>
          </p15:clr>
        </p15:guide>
        <p15:guide id="5" pos="6146" userDrawn="1">
          <p15:clr>
            <a:srgbClr val="F26B43"/>
          </p15:clr>
        </p15:guide>
        <p15:guide id="6" pos="5633" userDrawn="1">
          <p15:clr>
            <a:srgbClr val="F26B43"/>
          </p15:clr>
        </p15:guide>
        <p15:guide id="7" pos="5120" userDrawn="1">
          <p15:clr>
            <a:srgbClr val="F26B43"/>
          </p15:clr>
        </p15:guide>
        <p15:guide id="8" pos="4607" userDrawn="1">
          <p15:clr>
            <a:srgbClr val="F26B43"/>
          </p15:clr>
        </p15:guide>
        <p15:guide id="9" pos="4094" userDrawn="1">
          <p15:clr>
            <a:srgbClr val="F26B43"/>
          </p15:clr>
        </p15:guide>
        <p15:guide id="10" pos="3581" userDrawn="1">
          <p15:clr>
            <a:srgbClr val="F26B43"/>
          </p15:clr>
        </p15:guide>
        <p15:guide id="11" pos="3068" userDrawn="1">
          <p15:clr>
            <a:srgbClr val="F26B43"/>
          </p15:clr>
        </p15:guide>
        <p15:guide id="12" pos="2555" userDrawn="1">
          <p15:clr>
            <a:srgbClr val="F26B43"/>
          </p15:clr>
        </p15:guide>
        <p15:guide id="13" pos="2042" userDrawn="1">
          <p15:clr>
            <a:srgbClr val="F26B43"/>
          </p15:clr>
        </p15:guide>
        <p15:guide id="14" pos="1529" userDrawn="1">
          <p15:clr>
            <a:srgbClr val="F26B43"/>
          </p15:clr>
        </p15:guide>
        <p15:guide id="15" pos="1016" userDrawn="1">
          <p15:clr>
            <a:srgbClr val="F26B43"/>
          </p15:clr>
        </p15:guide>
        <p15:guide id="16" pos="50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0161147-C727-E082-9F4C-BF740852BE81}"/>
              </a:ext>
            </a:extLst>
          </p:cNvPr>
          <p:cNvGraphicFramePr>
            <a:graphicFrameLocks noChangeAspect="1"/>
          </p:cNvGraphicFramePr>
          <p:nvPr userDrawn="1">
            <p:custDataLst>
              <p:tags r:id="rId58"/>
            </p:custDataLst>
            <p:extLst>
              <p:ext uri="{D42A27DB-BD31-4B8C-83A1-F6EECF244321}">
                <p14:modId xmlns:p14="http://schemas.microsoft.com/office/powerpoint/2010/main" val="1883633465"/>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name="think-cell Slide" r:id="rId59" imgW="592" imgH="595" progId="TCLayout.ActiveDocument.1">
                  <p:embed/>
                </p:oleObj>
              </mc:Choice>
              <mc:Fallback>
                <p:oleObj name="think-cell Slide" r:id="rId59" imgW="592" imgH="595" progId="TCLayout.ActiveDocument.1">
                  <p:embed/>
                  <p:pic>
                    <p:nvPicPr>
                      <p:cNvPr id="6" name="think-cell data - do not delete" hidden="1">
                        <a:extLst>
                          <a:ext uri="{FF2B5EF4-FFF2-40B4-BE49-F238E27FC236}">
                            <a16:creationId xmlns:a16="http://schemas.microsoft.com/office/drawing/2014/main" id="{00161147-C727-E082-9F4C-BF740852BE81}"/>
                          </a:ext>
                        </a:extLst>
                      </p:cNvPr>
                      <p:cNvPicPr/>
                      <p:nvPr/>
                    </p:nvPicPr>
                    <p:blipFill>
                      <a:blip r:embed="rId60"/>
                      <a:stretch>
                        <a:fillRect/>
                      </a:stretch>
                    </p:blipFill>
                    <p:spPr>
                      <a:xfrm>
                        <a:off x="1588" y="1589"/>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29" y="652613"/>
            <a:ext cx="11471732" cy="5913222"/>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59953" y="6369875"/>
            <a:ext cx="777499" cy="21605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59953" y="655352"/>
            <a:ext cx="10481835" cy="936217"/>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59953" y="1829224"/>
            <a:ext cx="11471707" cy="4295794"/>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5341" y="6312261"/>
            <a:ext cx="626318" cy="144033"/>
          </a:xfrm>
          <a:prstGeom prst="rect">
            <a:avLst/>
          </a:prstGeom>
        </p:spPr>
        <p:txBody>
          <a:bodyPr vert="horz" lIns="0" tIns="0" rIns="0" bIns="0" rtlCol="0" anchor="b" anchorCtr="0"/>
          <a:lstStyle>
            <a:lvl1pPr algn="r">
              <a:defRPr sz="700">
                <a:solidFill>
                  <a:schemeClr val="tx2"/>
                </a:solidFill>
              </a:defRPr>
            </a:lvl1pPr>
          </a:lstStyle>
          <a:p>
            <a:fld id="{D7C7A626-396F-47CE-9599-33B16A849820}" type="datetime1">
              <a:rPr lang="en-GB" smtClean="0"/>
              <a:t>04/03/2024</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625" y="6441891"/>
            <a:ext cx="8876444" cy="144033"/>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5341" y="6477900"/>
            <a:ext cx="626318" cy="108025"/>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 id="2147483799" r:id="rId56"/>
  </p:sldLayoutIdLst>
  <p:hf hdr="0" ftr="0" dt="0"/>
  <p:txStyles>
    <p:titleStyle>
      <a:lvl1pPr algn="l" defTabSz="914309"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3986" indent="-143986" algn="l" defTabSz="914309"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7971" indent="-143986" algn="l" defTabSz="914309"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1957" indent="-143986" algn="l" defTabSz="914309"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309"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309"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309"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309"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7989" indent="-107989" algn="l" defTabSz="914309"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7989" indent="-107989" algn="l" defTabSz="914309"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userDrawn="1">
          <p15:clr>
            <a:srgbClr val="A4A3A4"/>
          </p15:clr>
        </p15:guide>
        <p15:guide id="2" pos="847" userDrawn="1">
          <p15:clr>
            <a:srgbClr val="A4A3A4"/>
          </p15:clr>
        </p15:guide>
        <p15:guide id="3" orient="horz" pos="410" userDrawn="1">
          <p15:clr>
            <a:srgbClr val="F26B43"/>
          </p15:clr>
        </p15:guide>
        <p15:guide id="4" orient="horz" pos="4136" userDrawn="1">
          <p15:clr>
            <a:srgbClr val="A4A3A4"/>
          </p15:clr>
        </p15:guide>
        <p15:guide id="5" pos="226" userDrawn="1">
          <p15:clr>
            <a:srgbClr val="F26B43"/>
          </p15:clr>
        </p15:guide>
        <p15:guide id="6" pos="7452" userDrawn="1">
          <p15:clr>
            <a:srgbClr val="F26B43"/>
          </p15:clr>
        </p15:guide>
        <p15:guide id="7" orient="horz" pos="1152" userDrawn="1">
          <p15:clr>
            <a:srgbClr val="F26B43"/>
          </p15:clr>
        </p15:guide>
        <p15:guide id="8" pos="1242" userDrawn="1">
          <p15:clr>
            <a:srgbClr val="A4A3A4"/>
          </p15:clr>
        </p15:guide>
        <p15:guide id="9" pos="1468" userDrawn="1">
          <p15:clr>
            <a:srgbClr val="A4A3A4"/>
          </p15:clr>
        </p15:guide>
        <p15:guide id="10" pos="1863" userDrawn="1">
          <p15:clr>
            <a:srgbClr val="A4A3A4"/>
          </p15:clr>
        </p15:guide>
        <p15:guide id="11" pos="2090" userDrawn="1">
          <p15:clr>
            <a:srgbClr val="A4A3A4"/>
          </p15:clr>
        </p15:guide>
        <p15:guide id="12" pos="2484" userDrawn="1">
          <p15:clr>
            <a:srgbClr val="A4A3A4"/>
          </p15:clr>
        </p15:guide>
        <p15:guide id="13" pos="2711" userDrawn="1">
          <p15:clr>
            <a:srgbClr val="A4A3A4"/>
          </p15:clr>
        </p15:guide>
        <p15:guide id="14" pos="3105" userDrawn="1">
          <p15:clr>
            <a:srgbClr val="A4A3A4"/>
          </p15:clr>
        </p15:guide>
        <p15:guide id="15" pos="3332" userDrawn="1">
          <p15:clr>
            <a:srgbClr val="A4A3A4"/>
          </p15:clr>
        </p15:guide>
        <p15:guide id="16" pos="3726" userDrawn="1">
          <p15:clr>
            <a:srgbClr val="A4A3A4"/>
          </p15:clr>
        </p15:guide>
        <p15:guide id="17" pos="3952" userDrawn="1">
          <p15:clr>
            <a:srgbClr val="A4A3A4"/>
          </p15:clr>
        </p15:guide>
        <p15:guide id="18" pos="4346" userDrawn="1">
          <p15:clr>
            <a:srgbClr val="A4A3A4"/>
          </p15:clr>
        </p15:guide>
        <p15:guide id="19" pos="4573" userDrawn="1">
          <p15:clr>
            <a:srgbClr val="A4A3A4"/>
          </p15:clr>
        </p15:guide>
        <p15:guide id="20" pos="4967" userDrawn="1">
          <p15:clr>
            <a:srgbClr val="A4A3A4"/>
          </p15:clr>
        </p15:guide>
        <p15:guide id="21" pos="5194" userDrawn="1">
          <p15:clr>
            <a:srgbClr val="A4A3A4"/>
          </p15:clr>
        </p15:guide>
        <p15:guide id="22" pos="5588" userDrawn="1">
          <p15:clr>
            <a:srgbClr val="A4A3A4"/>
          </p15:clr>
        </p15:guide>
        <p15:guide id="23" pos="5815" userDrawn="1">
          <p15:clr>
            <a:srgbClr val="A4A3A4"/>
          </p15:clr>
        </p15:guide>
        <p15:guide id="24" pos="6210" userDrawn="1">
          <p15:clr>
            <a:srgbClr val="A4A3A4"/>
          </p15:clr>
        </p15:guide>
        <p15:guide id="25" pos="6436" userDrawn="1">
          <p15:clr>
            <a:srgbClr val="A4A3A4"/>
          </p15:clr>
        </p15:guide>
        <p15:guide id="26" pos="6831" userDrawn="1">
          <p15:clr>
            <a:srgbClr val="A4A3A4"/>
          </p15:clr>
        </p15:guide>
        <p15:guide id="27" pos="7057" userDrawn="1">
          <p15:clr>
            <a:srgbClr val="A4A3A4"/>
          </p15:clr>
        </p15:guide>
        <p15:guide id="28" orient="horz" pos="385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microsoft.com/office/2007/relationships/hdphoto" Target="../media/hdphoto1.wdp"/><Relationship Id="rId2" Type="http://schemas.openxmlformats.org/officeDocument/2006/relationships/slideLayout" Target="../slideLayouts/slideLayout39.xml"/><Relationship Id="rId1" Type="http://schemas.openxmlformats.org/officeDocument/2006/relationships/tags" Target="../tags/tag4.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33.xml"/><Relationship Id="rId4" Type="http://schemas.openxmlformats.org/officeDocument/2006/relationships/slide" Target="slide2.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33.xml"/><Relationship Id="rId4" Type="http://schemas.openxmlformats.org/officeDocument/2006/relationships/slide" Target="slide2.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33.xml"/><Relationship Id="rId4" Type="http://schemas.openxmlformats.org/officeDocument/2006/relationships/slide" Target="slide2.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33.xml"/><Relationship Id="rId6" Type="http://schemas.openxmlformats.org/officeDocument/2006/relationships/slide" Target="slide2.xml"/><Relationship Id="rId5" Type="http://schemas.openxmlformats.org/officeDocument/2006/relationships/image" Target="../media/image32.png"/><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slide" Target="slide2.xml"/><Relationship Id="rId2" Type="http://schemas.openxmlformats.org/officeDocument/2006/relationships/notesSlide" Target="../notesSlides/notesSlide10.xml"/><Relationship Id="rId1" Type="http://schemas.openxmlformats.org/officeDocument/2006/relationships/slideLayout" Target="../slideLayouts/slideLayout3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1.png"/></Relationships>
</file>

<file path=ppt/slides/_rels/slide2.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83.xml"/></Relationships>
</file>

<file path=ppt/slides/_rels/slide3.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21.png"/><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22.png"/><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33.xml"/><Relationship Id="rId5" Type="http://schemas.openxmlformats.org/officeDocument/2006/relationships/slide" Target="slide2.xml"/><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33.xml"/><Relationship Id="rId4" Type="http://schemas.openxmlformats.org/officeDocument/2006/relationships/slide" Target="slide2.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33.xml"/><Relationship Id="rId4"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1" name="think-cell data - do not delete" hidden="1">
            <a:extLst>
              <a:ext uri="{FF2B5EF4-FFF2-40B4-BE49-F238E27FC236}">
                <a16:creationId xmlns:a16="http://schemas.microsoft.com/office/drawing/2014/main" id="{4C7BC5F7-BF4D-88C5-9ABE-639C7C37C4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1221" name="think-cell data - do not delete" hidden="1">
                        <a:extLst>
                          <a:ext uri="{FF2B5EF4-FFF2-40B4-BE49-F238E27FC236}">
                            <a16:creationId xmlns:a16="http://schemas.microsoft.com/office/drawing/2014/main" id="{4C7BC5F7-BF4D-88C5-9ABE-639C7C37C4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Placeholder 15">
            <a:extLst>
              <a:ext uri="{FF2B5EF4-FFF2-40B4-BE49-F238E27FC236}">
                <a16:creationId xmlns:a16="http://schemas.microsoft.com/office/drawing/2014/main" id="{55F42418-49A5-209E-E054-6522D525765C}"/>
              </a:ext>
            </a:extLst>
          </p:cNvPr>
          <p:cNvPicPr>
            <a:picLocks noGrp="1" noChangeAspect="1"/>
          </p:cNvPicPr>
          <p:nvPr>
            <p:ph type="pic" sz="quarter" idx="13"/>
          </p:nvPr>
        </p:nvPicPr>
        <p:blipFill>
          <a:blip r:embed="rId6">
            <a:extLst>
              <a:ext uri="{BEBA8EAE-BF5A-486C-A8C5-ECC9F3942E4B}">
                <a14:imgProps xmlns:a14="http://schemas.microsoft.com/office/drawing/2010/main">
                  <a14:imgLayer r:embed="rId7">
                    <a14:imgEffect>
                      <a14:artisticCutout/>
                    </a14:imgEffect>
                  </a14:imgLayer>
                </a14:imgProps>
              </a:ext>
            </a:extLst>
          </a:blip>
          <a:srcRect l="6497" r="6497"/>
          <a:stretch/>
        </p:blipFill>
        <p:spPr/>
      </p:pic>
      <p:sp>
        <p:nvSpPr>
          <p:cNvPr id="5" name="Title 4">
            <a:extLst>
              <a:ext uri="{FF2B5EF4-FFF2-40B4-BE49-F238E27FC236}">
                <a16:creationId xmlns:a16="http://schemas.microsoft.com/office/drawing/2014/main" id="{D1BA4A75-DDFE-10AB-3C4F-C172C17A3AA2}"/>
              </a:ext>
            </a:extLst>
          </p:cNvPr>
          <p:cNvSpPr>
            <a:spLocks noGrp="1"/>
          </p:cNvSpPr>
          <p:nvPr>
            <p:ph type="ctrTitle"/>
          </p:nvPr>
        </p:nvSpPr>
        <p:spPr/>
        <p:txBody>
          <a:bodyPr/>
          <a:lstStyle/>
          <a:p>
            <a:r>
              <a:rPr lang="en-GB" dirty="0">
                <a:solidFill>
                  <a:schemeClr val="bg1"/>
                </a:solidFill>
                <a:latin typeface="+mj-lt"/>
              </a:rPr>
              <a:t>Guide </a:t>
            </a:r>
            <a:br>
              <a:rPr lang="en-GB" dirty="0">
                <a:solidFill>
                  <a:schemeClr val="bg1"/>
                </a:solidFill>
                <a:latin typeface="+mj-lt"/>
              </a:rPr>
            </a:br>
            <a:r>
              <a:rPr lang="en-GB" i="1" dirty="0"/>
              <a:t>Data Collection Tools</a:t>
            </a:r>
            <a:endParaRPr lang="en-GB" dirty="0">
              <a:solidFill>
                <a:schemeClr val="bg1"/>
              </a:solidFill>
              <a:latin typeface="+mj-lt"/>
            </a:endParaRPr>
          </a:p>
        </p:txBody>
      </p:sp>
    </p:spTree>
    <p:extLst>
      <p:ext uri="{BB962C8B-B14F-4D97-AF65-F5344CB8AC3E}">
        <p14:creationId xmlns:p14="http://schemas.microsoft.com/office/powerpoint/2010/main" val="2143498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2767DA1-8B40-0CFA-BF01-E288E55F3493}"/>
              </a:ext>
            </a:extLst>
          </p:cNvPr>
          <p:cNvSpPr/>
          <p:nvPr/>
        </p:nvSpPr>
        <p:spPr>
          <a:xfrm>
            <a:off x="0" y="0"/>
            <a:ext cx="12190413" cy="1066800"/>
          </a:xfrm>
          <a:prstGeom prst="rect">
            <a:avLst/>
          </a:prstGeom>
          <a:solidFill>
            <a:schemeClr val="accent1">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96000" lvl="2" indent="0">
              <a:buNone/>
            </a:pPr>
            <a:r>
              <a:rPr lang="en-GB" sz="2600" b="1" dirty="0">
                <a:latin typeface="Gotham Rounded Light" pitchFamily="50" charset="0"/>
              </a:rPr>
              <a:t>Administrative Practices Sheet – SCOs</a:t>
            </a:r>
          </a:p>
        </p:txBody>
      </p:sp>
      <p:sp>
        <p:nvSpPr>
          <p:cNvPr id="7" name="Freeform: Shape 6">
            <a:extLst>
              <a:ext uri="{FF2B5EF4-FFF2-40B4-BE49-F238E27FC236}">
                <a16:creationId xmlns:a16="http://schemas.microsoft.com/office/drawing/2014/main" id="{D15EE47D-95EC-4837-EA51-BE595FA1FFF8}"/>
              </a:ext>
            </a:extLst>
          </p:cNvPr>
          <p:cNvSpPr/>
          <p:nvPr/>
        </p:nvSpPr>
        <p:spPr>
          <a:xfrm>
            <a:off x="628650" y="4686300"/>
            <a:ext cx="5372100" cy="1704975"/>
          </a:xfrm>
          <a:custGeom>
            <a:avLst/>
            <a:gdLst>
              <a:gd name="connsiteX0" fmla="*/ 0 w 5372100"/>
              <a:gd name="connsiteY0" fmla="*/ 0 h 1704975"/>
              <a:gd name="connsiteX1" fmla="*/ 1162050 w 5372100"/>
              <a:gd name="connsiteY1" fmla="*/ 361950 h 1704975"/>
              <a:gd name="connsiteX2" fmla="*/ 4305300 w 5372100"/>
              <a:gd name="connsiteY2" fmla="*/ 1447800 h 1704975"/>
              <a:gd name="connsiteX3" fmla="*/ 5324475 w 5372100"/>
              <a:gd name="connsiteY3" fmla="*/ 1704975 h 1704975"/>
              <a:gd name="connsiteX4" fmla="*/ 5372100 w 5372100"/>
              <a:gd name="connsiteY4" fmla="*/ 1628775 h 1704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100" h="1704975">
                <a:moveTo>
                  <a:pt x="0" y="0"/>
                </a:moveTo>
                <a:cubicBezTo>
                  <a:pt x="387350" y="120650"/>
                  <a:pt x="777506" y="232634"/>
                  <a:pt x="1162050" y="361950"/>
                </a:cubicBezTo>
                <a:cubicBezTo>
                  <a:pt x="2212739" y="715279"/>
                  <a:pt x="3250347" y="1107415"/>
                  <a:pt x="4305300" y="1447800"/>
                </a:cubicBezTo>
                <a:cubicBezTo>
                  <a:pt x="4638747" y="1555388"/>
                  <a:pt x="4984750" y="1619250"/>
                  <a:pt x="5324475" y="1704975"/>
                </a:cubicBezTo>
                <a:lnTo>
                  <a:pt x="5372100" y="1628775"/>
                </a:lnTo>
              </a:path>
            </a:pathLst>
          </a:cu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14" name="Picture 13">
            <a:extLst>
              <a:ext uri="{FF2B5EF4-FFF2-40B4-BE49-F238E27FC236}">
                <a16:creationId xmlns:a16="http://schemas.microsoft.com/office/drawing/2014/main" id="{49774394-D946-6675-7584-B91F9DF58821}"/>
              </a:ext>
            </a:extLst>
          </p:cNvPr>
          <p:cNvPicPr>
            <a:picLocks noChangeAspect="1"/>
          </p:cNvPicPr>
          <p:nvPr/>
        </p:nvPicPr>
        <p:blipFill>
          <a:blip r:embed="rId3"/>
          <a:stretch>
            <a:fillRect/>
          </a:stretch>
        </p:blipFill>
        <p:spPr>
          <a:xfrm>
            <a:off x="22084" y="1670956"/>
            <a:ext cx="11957331" cy="1401360"/>
          </a:xfrm>
          <a:prstGeom prst="rect">
            <a:avLst/>
          </a:prstGeom>
        </p:spPr>
      </p:pic>
      <p:cxnSp>
        <p:nvCxnSpPr>
          <p:cNvPr id="5" name="Straight Arrow Connector 4">
            <a:extLst>
              <a:ext uri="{FF2B5EF4-FFF2-40B4-BE49-F238E27FC236}">
                <a16:creationId xmlns:a16="http://schemas.microsoft.com/office/drawing/2014/main" id="{C72170B8-B47B-7B38-AD67-1FA4FAE60A37}"/>
              </a:ext>
            </a:extLst>
          </p:cNvPr>
          <p:cNvCxnSpPr>
            <a:cxnSpLocks/>
          </p:cNvCxnSpPr>
          <p:nvPr/>
        </p:nvCxnSpPr>
        <p:spPr>
          <a:xfrm flipV="1">
            <a:off x="7082678" y="2953071"/>
            <a:ext cx="0" cy="2433316"/>
          </a:xfrm>
          <a:prstGeom prst="straightConnector1">
            <a:avLst/>
          </a:prstGeom>
          <a:ln w="571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 name="Straight Arrow Connector 7">
            <a:extLst>
              <a:ext uri="{FF2B5EF4-FFF2-40B4-BE49-F238E27FC236}">
                <a16:creationId xmlns:a16="http://schemas.microsoft.com/office/drawing/2014/main" id="{B2C1C0FD-EBDC-EF2F-2F9A-47787ADBB365}"/>
              </a:ext>
            </a:extLst>
          </p:cNvPr>
          <p:cNvCxnSpPr>
            <a:cxnSpLocks/>
          </p:cNvCxnSpPr>
          <p:nvPr/>
        </p:nvCxnSpPr>
        <p:spPr>
          <a:xfrm flipV="1">
            <a:off x="9413501" y="2953071"/>
            <a:ext cx="0" cy="2433316"/>
          </a:xfrm>
          <a:prstGeom prst="straightConnector1">
            <a:avLst/>
          </a:prstGeom>
          <a:ln w="571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2A059937-3079-8F0B-A1E1-DD607505D2FB}"/>
              </a:ext>
            </a:extLst>
          </p:cNvPr>
          <p:cNvCxnSpPr>
            <a:cxnSpLocks/>
          </p:cNvCxnSpPr>
          <p:nvPr/>
        </p:nvCxnSpPr>
        <p:spPr>
          <a:xfrm flipV="1">
            <a:off x="11771219" y="2953071"/>
            <a:ext cx="0" cy="2433316"/>
          </a:xfrm>
          <a:prstGeom prst="straightConnector1">
            <a:avLst/>
          </a:prstGeom>
          <a:ln w="571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15FCDA6C-5BA8-CFE1-6819-3E0DFE248BEE}"/>
              </a:ext>
            </a:extLst>
          </p:cNvPr>
          <p:cNvSpPr txBox="1"/>
          <p:nvPr/>
        </p:nvSpPr>
        <p:spPr bwMode="auto">
          <a:xfrm>
            <a:off x="5618699" y="5415676"/>
            <a:ext cx="6360716" cy="246221"/>
          </a:xfrm>
          <a:prstGeom prst="rect">
            <a:avLst/>
          </a:prstGeom>
          <a:noFill/>
          <a:ln w="9525">
            <a:noFill/>
            <a:miter lim="800000"/>
            <a:headEnd/>
            <a:tailEnd/>
          </a:ln>
          <a:effectLst/>
        </p:spPr>
        <p:txBody>
          <a:bodyPr vert="horz" wrap="non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600" b="0" i="1" u="none" strike="noStrike" kern="1200" cap="none" spc="0" normalizeH="0" baseline="0" noProof="0" dirty="0">
                <a:ln>
                  <a:noFill/>
                </a:ln>
                <a:solidFill>
                  <a:schemeClr val="tx2"/>
                </a:solidFill>
                <a:effectLst/>
                <a:uLnTx/>
                <a:uFillTx/>
                <a:latin typeface="Verdana"/>
                <a:ea typeface="Verdana" pitchFamily="34" charset="0"/>
                <a:cs typeface="Verdana" pitchFamily="34" charset="0"/>
              </a:rPr>
              <a:t>Select the answer (to a small extent, to a great extent, etc…)</a:t>
            </a:r>
          </a:p>
        </p:txBody>
      </p:sp>
      <p:sp>
        <p:nvSpPr>
          <p:cNvPr id="2" name="Action Button: Go to Beginning 1">
            <a:hlinkClick r:id="rId4" action="ppaction://hlinksldjump" highlightClick="1"/>
            <a:extLst>
              <a:ext uri="{FF2B5EF4-FFF2-40B4-BE49-F238E27FC236}">
                <a16:creationId xmlns:a16="http://schemas.microsoft.com/office/drawing/2014/main" id="{ABAA2D19-CD86-FD0F-A873-9D882EAA486D}"/>
              </a:ext>
            </a:extLst>
          </p:cNvPr>
          <p:cNvSpPr/>
          <p:nvPr/>
        </p:nvSpPr>
        <p:spPr>
          <a:xfrm>
            <a:off x="11215991" y="6352162"/>
            <a:ext cx="778213" cy="398834"/>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BE" sz="2000" err="1"/>
          </a:p>
        </p:txBody>
      </p:sp>
      <p:sp>
        <p:nvSpPr>
          <p:cNvPr id="3" name="TextBox 2">
            <a:extLst>
              <a:ext uri="{FF2B5EF4-FFF2-40B4-BE49-F238E27FC236}">
                <a16:creationId xmlns:a16="http://schemas.microsoft.com/office/drawing/2014/main" id="{2BE2863A-E828-186E-F9AD-E032811CAA8F}"/>
              </a:ext>
            </a:extLst>
          </p:cNvPr>
          <p:cNvSpPr txBox="1"/>
          <p:nvPr/>
        </p:nvSpPr>
        <p:spPr bwMode="auto">
          <a:xfrm>
            <a:off x="10437778" y="6397690"/>
            <a:ext cx="778213" cy="3077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fr-FR" sz="1000" b="0" i="1" u="none" strike="noStrike" kern="1200" cap="none" spc="0" normalizeH="0" baseline="0" noProof="0">
                <a:ln>
                  <a:noFill/>
                </a:ln>
                <a:solidFill>
                  <a:schemeClr val="tx2"/>
                </a:solidFill>
                <a:effectLst/>
                <a:uLnTx/>
                <a:uFillTx/>
                <a:latin typeface="Verdana"/>
                <a:ea typeface="Verdana" pitchFamily="34" charset="0"/>
                <a:cs typeface="Verdana" pitchFamily="34" charset="0"/>
              </a:rPr>
              <a:t>Go to table of content</a:t>
            </a:r>
            <a:endParaRPr kumimoji="0" lang="nl-BE" sz="1000" b="0" i="1" u="none" strike="noStrike" kern="1200" cap="none" spc="0" normalizeH="0" baseline="0" noProof="0" err="1">
              <a:ln>
                <a:noFill/>
              </a:ln>
              <a:solidFill>
                <a:schemeClr val="tx2"/>
              </a:solidFill>
              <a:effectLst/>
              <a:uLnTx/>
              <a:uFillTx/>
              <a:latin typeface="Verdana"/>
              <a:ea typeface="Verdana" pitchFamily="34" charset="0"/>
              <a:cs typeface="Verdana" pitchFamily="34" charset="0"/>
            </a:endParaRPr>
          </a:p>
        </p:txBody>
      </p:sp>
    </p:spTree>
    <p:extLst>
      <p:ext uri="{BB962C8B-B14F-4D97-AF65-F5344CB8AC3E}">
        <p14:creationId xmlns:p14="http://schemas.microsoft.com/office/powerpoint/2010/main" val="28798539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2767DA1-8B40-0CFA-BF01-E288E55F3493}"/>
              </a:ext>
            </a:extLst>
          </p:cNvPr>
          <p:cNvSpPr/>
          <p:nvPr/>
        </p:nvSpPr>
        <p:spPr>
          <a:xfrm>
            <a:off x="0" y="0"/>
            <a:ext cx="12190413" cy="1066800"/>
          </a:xfrm>
          <a:prstGeom prst="rect">
            <a:avLst/>
          </a:prstGeom>
          <a:solidFill>
            <a:schemeClr val="accent1">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96000" lvl="2" indent="0">
              <a:buNone/>
            </a:pPr>
            <a:r>
              <a:rPr lang="en-GB" sz="2600" b="1" dirty="0">
                <a:latin typeface="Gotham Rounded Light" pitchFamily="50" charset="0"/>
              </a:rPr>
              <a:t>Full-Time Equivalents (FTEs)</a:t>
            </a:r>
          </a:p>
        </p:txBody>
      </p:sp>
      <p:sp>
        <p:nvSpPr>
          <p:cNvPr id="7" name="Freeform: Shape 6">
            <a:extLst>
              <a:ext uri="{FF2B5EF4-FFF2-40B4-BE49-F238E27FC236}">
                <a16:creationId xmlns:a16="http://schemas.microsoft.com/office/drawing/2014/main" id="{D15EE47D-95EC-4837-EA51-BE595FA1FFF8}"/>
              </a:ext>
            </a:extLst>
          </p:cNvPr>
          <p:cNvSpPr/>
          <p:nvPr/>
        </p:nvSpPr>
        <p:spPr>
          <a:xfrm>
            <a:off x="628650" y="4686300"/>
            <a:ext cx="5372100" cy="1704975"/>
          </a:xfrm>
          <a:custGeom>
            <a:avLst/>
            <a:gdLst>
              <a:gd name="connsiteX0" fmla="*/ 0 w 5372100"/>
              <a:gd name="connsiteY0" fmla="*/ 0 h 1704975"/>
              <a:gd name="connsiteX1" fmla="*/ 1162050 w 5372100"/>
              <a:gd name="connsiteY1" fmla="*/ 361950 h 1704975"/>
              <a:gd name="connsiteX2" fmla="*/ 4305300 w 5372100"/>
              <a:gd name="connsiteY2" fmla="*/ 1447800 h 1704975"/>
              <a:gd name="connsiteX3" fmla="*/ 5324475 w 5372100"/>
              <a:gd name="connsiteY3" fmla="*/ 1704975 h 1704975"/>
              <a:gd name="connsiteX4" fmla="*/ 5372100 w 5372100"/>
              <a:gd name="connsiteY4" fmla="*/ 1628775 h 1704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100" h="1704975">
                <a:moveTo>
                  <a:pt x="0" y="0"/>
                </a:moveTo>
                <a:cubicBezTo>
                  <a:pt x="387350" y="120650"/>
                  <a:pt x="777506" y="232634"/>
                  <a:pt x="1162050" y="361950"/>
                </a:cubicBezTo>
                <a:cubicBezTo>
                  <a:pt x="2212739" y="715279"/>
                  <a:pt x="3250347" y="1107415"/>
                  <a:pt x="4305300" y="1447800"/>
                </a:cubicBezTo>
                <a:cubicBezTo>
                  <a:pt x="4638747" y="1555388"/>
                  <a:pt x="4984750" y="1619250"/>
                  <a:pt x="5324475" y="1704975"/>
                </a:cubicBezTo>
                <a:lnTo>
                  <a:pt x="5372100" y="1628775"/>
                </a:lnTo>
              </a:path>
            </a:pathLst>
          </a:cu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2B6B967B-2D59-6D73-0557-139FC64BEAB9}"/>
                  </a:ext>
                </a:extLst>
              </p:cNvPr>
              <p:cNvSpPr txBox="1">
                <a:spLocks/>
              </p:cNvSpPr>
              <p:nvPr/>
            </p:nvSpPr>
            <p:spPr>
              <a:xfrm>
                <a:off x="798512" y="1645033"/>
                <a:ext cx="10580688" cy="3962024"/>
              </a:xfrm>
              <a:prstGeom prst="rect">
                <a:avLst/>
              </a:prstGeom>
            </p:spPr>
            <p:txBody>
              <a:bodyPr/>
              <a:lstStyle>
                <a:lvl1pPr marL="252000" indent="-252000" algn="l" defTabSz="457189" rtl="0" eaLnBrk="1" fontAlgn="base" hangingPunct="1">
                  <a:lnSpc>
                    <a:spcPct val="100000"/>
                  </a:lnSpc>
                  <a:spcBef>
                    <a:spcPct val="0"/>
                  </a:spcBef>
                  <a:spcAft>
                    <a:spcPts val="1200"/>
                  </a:spcAft>
                  <a:buFont typeface="Verdana" pitchFamily="34" charset="0"/>
                  <a:buChar char="•"/>
                  <a:defRPr kern="1200" spc="-50" baseline="0">
                    <a:solidFill>
                      <a:schemeClr val="tx1"/>
                    </a:solidFill>
                    <a:latin typeface="Verdana"/>
                    <a:ea typeface="Verdana" pitchFamily="34" charset="0"/>
                    <a:cs typeface="Verdana" pitchFamily="34" charset="0"/>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spc="-50" baseline="0">
                    <a:solidFill>
                      <a:schemeClr val="tx1"/>
                    </a:solidFill>
                    <a:latin typeface="Verdana"/>
                    <a:ea typeface="Verdana" pitchFamily="34" charset="0"/>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spc="-50" baseline="0">
                    <a:solidFill>
                      <a:schemeClr val="tx1"/>
                    </a:solidFill>
                    <a:latin typeface="Verdana"/>
                    <a:ea typeface="Verdana" pitchFamily="34" charset="0"/>
                    <a:cs typeface="+mn-cs"/>
                  </a:defRPr>
                </a:lvl3pPr>
                <a:lvl4pPr marL="0" indent="0" algn="l" defTabSz="457189" rtl="0" eaLnBrk="1" fontAlgn="base" hangingPunct="1">
                  <a:lnSpc>
                    <a:spcPct val="100000"/>
                  </a:lnSpc>
                  <a:spcBef>
                    <a:spcPct val="0"/>
                  </a:spcBef>
                  <a:spcAft>
                    <a:spcPts val="1200"/>
                  </a:spcAft>
                  <a:buFont typeface="Arial" panose="020B0604020202020204" pitchFamily="34" charset="0"/>
                  <a:buChar char="​"/>
                  <a:defRPr sz="1800" kern="1200" spc="-50" baseline="0">
                    <a:solidFill>
                      <a:schemeClr val="tx1"/>
                    </a:solidFill>
                    <a:latin typeface="Verdana"/>
                    <a:ea typeface="Verdana" pitchFamily="34" charset="0"/>
                    <a:cs typeface="+mn-cs"/>
                  </a:defRPr>
                </a:lvl4pPr>
                <a:lvl5pPr marL="0" indent="0" algn="l" defTabSz="457189" rtl="0" eaLnBrk="1" fontAlgn="base" hangingPunct="1">
                  <a:lnSpc>
                    <a:spcPct val="80000"/>
                  </a:lnSpc>
                  <a:spcBef>
                    <a:spcPct val="0"/>
                  </a:spcBef>
                  <a:spcAft>
                    <a:spcPts val="1200"/>
                  </a:spcAft>
                  <a:buFont typeface="Arial" panose="020B0604020202020204" pitchFamily="34" charset="0"/>
                  <a:buChar char="​"/>
                  <a:defRPr sz="4800" b="1" kern="1200" cap="all" spc="-100" baseline="0">
                    <a:solidFill>
                      <a:schemeClr val="tx1"/>
                    </a:solidFill>
                    <a:latin typeface="Verdana"/>
                    <a:ea typeface="Verdana" pitchFamily="34" charset="0"/>
                    <a:cs typeface="+mn-cs"/>
                  </a:defRPr>
                </a:lvl5pPr>
                <a:lvl6pPr marL="0" indent="0" algn="l" defTabSz="457189" rtl="0" eaLnBrk="1" latinLnBrk="0" hangingPunct="1">
                  <a:spcBef>
                    <a:spcPts val="0"/>
                  </a:spcBef>
                  <a:spcAft>
                    <a:spcPts val="600"/>
                  </a:spcAft>
                  <a:buClr>
                    <a:schemeClr val="tx2"/>
                  </a:buClr>
                  <a:buFont typeface="Arial" panose="020B0604020202020204" pitchFamily="34" charset="0"/>
                  <a:buChar char="​"/>
                  <a:defRPr sz="1800" b="1" kern="1200" cap="all" spc="-50" baseline="0">
                    <a:solidFill>
                      <a:schemeClr val="tx2"/>
                    </a:solidFill>
                    <a:latin typeface="+mn-lt"/>
                    <a:ea typeface="+mn-ea"/>
                    <a:cs typeface="+mn-cs"/>
                  </a:defRPr>
                </a:lvl6pPr>
                <a:lvl7pPr marL="0" indent="0" algn="l" defTabSz="457189" rtl="0" eaLnBrk="1" latinLnBrk="0" hangingPunct="1">
                  <a:spcBef>
                    <a:spcPts val="0"/>
                  </a:spcBef>
                  <a:spcAft>
                    <a:spcPts val="1200"/>
                  </a:spcAft>
                  <a:buFont typeface="Arial" panose="020B0604020202020204" pitchFamily="34" charset="0"/>
                  <a:buChar char="​"/>
                  <a:defRPr sz="1800" i="0" kern="1200" spc="-50">
                    <a:solidFill>
                      <a:schemeClr val="bg2"/>
                    </a:solidFill>
                    <a:latin typeface="+mn-lt"/>
                    <a:ea typeface="+mn-ea"/>
                    <a:cs typeface="+mn-cs"/>
                  </a:defRPr>
                </a:lvl7pPr>
                <a:lvl8pPr marL="648000" indent="-252000" algn="l" defTabSz="457189" rtl="0" eaLnBrk="1" latinLnBrk="0" hangingPunct="1">
                  <a:spcBef>
                    <a:spcPts val="0"/>
                  </a:spcBef>
                  <a:spcAft>
                    <a:spcPts val="1200"/>
                  </a:spcAft>
                  <a:buClr>
                    <a:schemeClr val="bg2"/>
                  </a:buClr>
                  <a:buFont typeface="+mj-lt"/>
                  <a:buAutoNum type="arabicPeriod"/>
                  <a:defRPr sz="1600" kern="1200" spc="-50">
                    <a:solidFill>
                      <a:schemeClr val="tx1"/>
                    </a:solidFill>
                    <a:latin typeface="+mn-lt"/>
                    <a:ea typeface="+mn-ea"/>
                    <a:cs typeface="+mn-cs"/>
                  </a:defRPr>
                </a:lvl8pPr>
                <a:lvl9pPr marL="648000" indent="-252000" algn="l" defTabSz="457189" rtl="0" eaLnBrk="1" latinLnBrk="0" hangingPunct="1">
                  <a:spcBef>
                    <a:spcPts val="0"/>
                  </a:spcBef>
                  <a:spcAft>
                    <a:spcPts val="1200"/>
                  </a:spcAft>
                  <a:buClr>
                    <a:schemeClr val="bg2"/>
                  </a:buClr>
                  <a:buFont typeface="+mj-lt"/>
                  <a:buAutoNum type="alphaUcPeriod"/>
                  <a:defRPr sz="1600" kern="1200" spc="-50">
                    <a:solidFill>
                      <a:schemeClr val="tx1"/>
                    </a:solidFill>
                    <a:latin typeface="+mn-lt"/>
                    <a:ea typeface="+mn-ea"/>
                    <a:cs typeface="+mn-cs"/>
                  </a:defRPr>
                </a:lvl9pPr>
              </a:lstStyle>
              <a:p>
                <a:pPr marL="0" indent="0" algn="just">
                  <a:buFont typeface="Verdana" pitchFamily="34" charset="0"/>
                  <a:buNone/>
                </a:pPr>
                <a:r>
                  <a:rPr lang="en-GB" dirty="0"/>
                  <a:t>Full-time equivalents (FTE, per year) refers to the total number of hours worked by all employees in a given year when considering part-time employees in terms of the equivalent full-time work they represent. This metric is commonly used to standardise and compare workloads across employees with different working hours. For example, if an organisation has two part-time employees working 20 hours a week each, they collectively represent one full-time equivalent (FTE) per year, as their combined hours (40 hours per week) equate to a full-time employee's workload for a year.</a:t>
                </a:r>
              </a:p>
              <a:p>
                <a:pPr marL="0" indent="0" algn="just">
                  <a:buFont typeface="Verdana" pitchFamily="34" charset="0"/>
                  <a:buNone/>
                </a:pPr>
                <a:endParaRPr lang="en-GB" dirty="0"/>
              </a:p>
              <a:p>
                <a:pPr marL="0" indent="0" algn="just">
                  <a:buFont typeface="Verdana" pitchFamily="34" charset="0"/>
                  <a:buNone/>
                </a:pPr>
                <a14:m>
                  <m:oMathPara xmlns:m="http://schemas.openxmlformats.org/officeDocument/2006/math">
                    <m:oMathParaPr>
                      <m:jc m:val="centerGroup"/>
                    </m:oMathParaPr>
                    <m:oMath xmlns:m="http://schemas.openxmlformats.org/officeDocument/2006/math">
                      <m:r>
                        <m:rPr>
                          <m:sty m:val="p"/>
                        </m:rPr>
                        <a:rPr lang="en-GB" smtClean="0">
                          <a:latin typeface="Cambria Math" panose="02040503050406030204" pitchFamily="18" charset="0"/>
                        </a:rPr>
                        <m:t>FTE</m:t>
                      </m:r>
                      <m:r>
                        <a:rPr lang="en-GB" smtClean="0">
                          <a:latin typeface="Cambria Math" panose="02040503050406030204" pitchFamily="18" charset="0"/>
                        </a:rPr>
                        <m:t> (</m:t>
                      </m:r>
                      <m:r>
                        <a:rPr lang="en-GB" i="1" smtClean="0">
                          <a:latin typeface="Cambria Math" panose="02040503050406030204" pitchFamily="18" charset="0"/>
                        </a:rPr>
                        <m:t>𝑝𝑒𝑟</m:t>
                      </m:r>
                      <m:r>
                        <a:rPr lang="en-GB" i="1" smtClean="0">
                          <a:latin typeface="Cambria Math" panose="02040503050406030204" pitchFamily="18" charset="0"/>
                        </a:rPr>
                        <m:t> </m:t>
                      </m:r>
                      <m:r>
                        <a:rPr lang="en-GB" i="1" smtClean="0">
                          <a:latin typeface="Cambria Math" panose="02040503050406030204" pitchFamily="18" charset="0"/>
                        </a:rPr>
                        <m:t>𝑦𝑒𝑎𝑟</m:t>
                      </m:r>
                      <m:r>
                        <a:rPr lang="en-GB" i="1" smtClean="0">
                          <a:latin typeface="Cambria Math" panose="02040503050406030204" pitchFamily="18" charset="0"/>
                        </a:rPr>
                        <m:t>)=</m:t>
                      </m:r>
                      <m:f>
                        <m:fPr>
                          <m:ctrlPr>
                            <a:rPr lang="en-GB" i="1" smtClean="0">
                              <a:latin typeface="Cambria Math" panose="02040503050406030204" pitchFamily="18" charset="0"/>
                            </a:rPr>
                          </m:ctrlPr>
                        </m:fPr>
                        <m:num>
                          <m:r>
                            <a:rPr lang="en-GB" i="1" smtClean="0">
                              <a:latin typeface="Cambria Math" panose="02040503050406030204" pitchFamily="18" charset="0"/>
                            </a:rPr>
                            <m:t>𝑇𝑜𝑡𝑎𝑙</m:t>
                          </m:r>
                          <m:r>
                            <a:rPr lang="en-GB" i="1" smtClean="0">
                              <a:latin typeface="Cambria Math" panose="02040503050406030204" pitchFamily="18" charset="0"/>
                            </a:rPr>
                            <m:t> </m:t>
                          </m:r>
                          <m:r>
                            <a:rPr lang="en-GB" i="1" smtClean="0">
                              <a:latin typeface="Cambria Math" panose="02040503050406030204" pitchFamily="18" charset="0"/>
                            </a:rPr>
                            <m:t>h𝑜𝑢𝑟𝑠</m:t>
                          </m:r>
                          <m:r>
                            <a:rPr lang="en-GB" i="1" smtClean="0">
                              <a:latin typeface="Cambria Math" panose="02040503050406030204" pitchFamily="18" charset="0"/>
                            </a:rPr>
                            <m:t> </m:t>
                          </m:r>
                          <m:r>
                            <a:rPr lang="en-GB" i="1" smtClean="0">
                              <a:latin typeface="Cambria Math" panose="02040503050406030204" pitchFamily="18" charset="0"/>
                            </a:rPr>
                            <m:t>𝑤𝑜𝑟𝑘𝑒𝑑</m:t>
                          </m:r>
                          <m:r>
                            <a:rPr lang="en-GB" i="1" smtClean="0">
                              <a:latin typeface="Cambria Math" panose="02040503050406030204" pitchFamily="18" charset="0"/>
                            </a:rPr>
                            <m:t> </m:t>
                          </m:r>
                          <m:r>
                            <a:rPr lang="en-GB" i="1" smtClean="0">
                              <a:latin typeface="Cambria Math" panose="02040503050406030204" pitchFamily="18" charset="0"/>
                            </a:rPr>
                            <m:t>𝑑𝑢𝑟𝑖𝑛𝑔</m:t>
                          </m:r>
                          <m:r>
                            <a:rPr lang="en-GB" i="1" smtClean="0">
                              <a:latin typeface="Cambria Math" panose="02040503050406030204" pitchFamily="18" charset="0"/>
                            </a:rPr>
                            <m:t> </m:t>
                          </m:r>
                          <m:r>
                            <a:rPr lang="en-GB" i="1" smtClean="0">
                              <a:latin typeface="Cambria Math" panose="02040503050406030204" pitchFamily="18" charset="0"/>
                            </a:rPr>
                            <m:t>𝑎</m:t>
                          </m:r>
                          <m:r>
                            <a:rPr lang="en-GB" i="1" smtClean="0">
                              <a:latin typeface="Cambria Math" panose="02040503050406030204" pitchFamily="18" charset="0"/>
                            </a:rPr>
                            <m:t> </m:t>
                          </m:r>
                          <m:r>
                            <a:rPr lang="en-GB" i="1" smtClean="0">
                              <a:latin typeface="Cambria Math" panose="02040503050406030204" pitchFamily="18" charset="0"/>
                            </a:rPr>
                            <m:t>𝑦𝑒𝑎𝑟</m:t>
                          </m:r>
                        </m:num>
                        <m:den>
                          <m:r>
                            <a:rPr lang="en-GB" i="1" smtClean="0">
                              <a:latin typeface="Cambria Math" panose="02040503050406030204" pitchFamily="18" charset="0"/>
                            </a:rPr>
                            <m:t>𝑇𝑜𝑡𝑎𝑙</m:t>
                          </m:r>
                          <m:r>
                            <a:rPr lang="en-GB" i="1" smtClean="0">
                              <a:latin typeface="Cambria Math" panose="02040503050406030204" pitchFamily="18" charset="0"/>
                            </a:rPr>
                            <m:t> </m:t>
                          </m:r>
                          <m:r>
                            <a:rPr lang="en-GB" i="1" smtClean="0">
                              <a:latin typeface="Cambria Math" panose="02040503050406030204" pitchFamily="18" charset="0"/>
                            </a:rPr>
                            <m:t>𝑤𝑜𝑟𝑘𝑖𝑛𝑔</m:t>
                          </m:r>
                          <m:r>
                            <a:rPr lang="en-GB" i="1" smtClean="0">
                              <a:latin typeface="Cambria Math" panose="02040503050406030204" pitchFamily="18" charset="0"/>
                            </a:rPr>
                            <m:t> </m:t>
                          </m:r>
                          <m:r>
                            <a:rPr lang="en-GB" i="1" smtClean="0">
                              <a:latin typeface="Cambria Math" panose="02040503050406030204" pitchFamily="18" charset="0"/>
                            </a:rPr>
                            <m:t>h𝑜𝑢𝑟𝑠</m:t>
                          </m:r>
                          <m:r>
                            <a:rPr lang="en-GB" i="1" smtClean="0">
                              <a:latin typeface="Cambria Math" panose="02040503050406030204" pitchFamily="18" charset="0"/>
                            </a:rPr>
                            <m:t> </m:t>
                          </m:r>
                          <m:r>
                            <a:rPr lang="en-GB" i="1" smtClean="0">
                              <a:latin typeface="Cambria Math" panose="02040503050406030204" pitchFamily="18" charset="0"/>
                            </a:rPr>
                            <m:t>𝑝𝑒𝑟</m:t>
                          </m:r>
                          <m:r>
                            <a:rPr lang="en-GB" i="1" smtClean="0">
                              <a:latin typeface="Cambria Math" panose="02040503050406030204" pitchFamily="18" charset="0"/>
                            </a:rPr>
                            <m:t> </m:t>
                          </m:r>
                          <m:r>
                            <a:rPr lang="en-GB" i="1" smtClean="0">
                              <a:latin typeface="Cambria Math" panose="02040503050406030204" pitchFamily="18" charset="0"/>
                            </a:rPr>
                            <m:t>𝑦𝑒𝑎𝑟</m:t>
                          </m:r>
                        </m:den>
                      </m:f>
                    </m:oMath>
                  </m:oMathPara>
                </a14:m>
                <a:endParaRPr lang="en-GB" dirty="0"/>
              </a:p>
              <a:p>
                <a:pPr marL="0" indent="0" algn="just">
                  <a:buFont typeface="Verdana" pitchFamily="34" charset="0"/>
                  <a:buNone/>
                </a:pPr>
                <a:endParaRPr lang="en-GB" b="1" dirty="0">
                  <a:solidFill>
                    <a:schemeClr val="tx2"/>
                  </a:solidFill>
                </a:endParaRPr>
              </a:p>
            </p:txBody>
          </p:sp>
        </mc:Choice>
        <mc:Fallback xmlns="">
          <p:sp>
            <p:nvSpPr>
              <p:cNvPr id="3" name="Content Placeholder 2">
                <a:extLst>
                  <a:ext uri="{FF2B5EF4-FFF2-40B4-BE49-F238E27FC236}">
                    <a16:creationId xmlns:a16="http://schemas.microsoft.com/office/drawing/2014/main" id="{2B6B967B-2D59-6D73-0557-139FC64BEAB9}"/>
                  </a:ext>
                </a:extLst>
              </p:cNvPr>
              <p:cNvSpPr txBox="1">
                <a:spLocks noRot="1" noChangeAspect="1" noMove="1" noResize="1" noEditPoints="1" noAdjustHandles="1" noChangeArrowheads="1" noChangeShapeType="1" noTextEdit="1"/>
              </p:cNvSpPr>
              <p:nvPr/>
            </p:nvSpPr>
            <p:spPr>
              <a:xfrm>
                <a:off x="798512" y="1645033"/>
                <a:ext cx="10580688" cy="3962024"/>
              </a:xfrm>
              <a:prstGeom prst="rect">
                <a:avLst/>
              </a:prstGeom>
              <a:blipFill>
                <a:blip r:embed="rId3"/>
                <a:stretch>
                  <a:fillRect l="-518" t="-923" r="-403"/>
                </a:stretch>
              </a:blipFill>
            </p:spPr>
            <p:txBody>
              <a:bodyPr/>
              <a:lstStyle/>
              <a:p>
                <a:r>
                  <a:rPr lang="en-US">
                    <a:noFill/>
                  </a:rPr>
                  <a:t> </a:t>
                </a:r>
              </a:p>
            </p:txBody>
          </p:sp>
        </mc:Fallback>
      </mc:AlternateContent>
      <p:sp>
        <p:nvSpPr>
          <p:cNvPr id="6" name="TextBox 5">
            <a:extLst>
              <a:ext uri="{FF2B5EF4-FFF2-40B4-BE49-F238E27FC236}">
                <a16:creationId xmlns:a16="http://schemas.microsoft.com/office/drawing/2014/main" id="{055CEB44-8BB0-A30E-03A7-4319EAA688AD}"/>
              </a:ext>
            </a:extLst>
          </p:cNvPr>
          <p:cNvSpPr txBox="1"/>
          <p:nvPr/>
        </p:nvSpPr>
        <p:spPr bwMode="auto">
          <a:xfrm>
            <a:off x="256148" y="5130003"/>
            <a:ext cx="11918327" cy="954107"/>
          </a:xfrm>
          <a:prstGeom prst="rect">
            <a:avLst/>
          </a:prstGeom>
          <a:noFill/>
          <a:ln w="9525">
            <a:noFill/>
            <a:miter lim="800000"/>
            <a:headEnd/>
            <a:tailEnd/>
          </a:ln>
          <a:effectLst/>
        </p:spPr>
        <p:txBody>
          <a:bodyPr vert="horz" wrap="non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lang="en-GB" sz="1400" i="1" spc="0" dirty="0">
                <a:solidFill>
                  <a:schemeClr val="accent1">
                    <a:lumMod val="50000"/>
                  </a:schemeClr>
                </a:solidFill>
              </a:rPr>
              <a:t>Please note that, when we are asking for an estimation of the FTEs for a certain task:</a:t>
            </a:r>
            <a:endParaRPr kumimoji="0" lang="en-GB" sz="140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endParaRPr>
          </a:p>
          <a:p>
            <a:pPr marL="285750" marR="0" indent="-285750" algn="l" defTabSz="457200" rtl="0" eaLnBrk="0" fontAlgn="base" latinLnBrk="0" hangingPunct="0">
              <a:spcBef>
                <a:spcPct val="0"/>
              </a:spcBef>
              <a:buClrTx/>
              <a:buSzTx/>
              <a:buFont typeface="Wingdings" panose="05000000000000000000" pitchFamily="2" charset="2"/>
              <a:buChar char="à"/>
              <a:tabLst/>
            </a:pPr>
            <a:r>
              <a:rPr kumimoji="0" lang="en-GB" sz="1400" b="1"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sym typeface="Wingdings" panose="05000000000000000000" pitchFamily="2" charset="2"/>
              </a:rPr>
              <a:t>FTEs are indicated on a </a:t>
            </a:r>
            <a:r>
              <a:rPr kumimoji="0" lang="en-GB" sz="1400" b="1" i="1" u="sng"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sym typeface="Wingdings" panose="05000000000000000000" pitchFamily="2" charset="2"/>
              </a:rPr>
              <a:t>yearly average </a:t>
            </a:r>
            <a:r>
              <a:rPr kumimoji="0" lang="en-GB" sz="1400" b="1"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sym typeface="Wingdings" panose="05000000000000000000" pitchFamily="2" charset="2"/>
              </a:rPr>
              <a:t>basis </a:t>
            </a:r>
            <a:r>
              <a:rPr kumimoji="0" lang="en-GB" sz="1400" b="1" i="1" u="sng"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sym typeface="Wingdings" panose="05000000000000000000" pitchFamily="2" charset="2"/>
              </a:rPr>
              <a:t>over the whole period </a:t>
            </a:r>
            <a:r>
              <a:rPr kumimoji="0" lang="en-GB" sz="1400" b="1"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sym typeface="Wingdings" panose="05000000000000000000" pitchFamily="2" charset="2"/>
              </a:rPr>
              <a:t>(including programme preparation and closure)</a:t>
            </a:r>
          </a:p>
          <a:p>
            <a:pPr marL="285750" marR="0" indent="-285750" algn="l" defTabSz="457200" rtl="0" eaLnBrk="0" fontAlgn="base" latinLnBrk="0" hangingPunct="0">
              <a:spcBef>
                <a:spcPct val="0"/>
              </a:spcBef>
              <a:buClrTx/>
              <a:buSzTx/>
              <a:buFont typeface="Wingdings" panose="05000000000000000000" pitchFamily="2" charset="2"/>
              <a:buChar char="à"/>
              <a:tabLst/>
            </a:pPr>
            <a:r>
              <a:rPr kumimoji="0" lang="en-GB" sz="1400" b="1"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sym typeface="Wingdings" panose="05000000000000000000" pitchFamily="2" charset="2"/>
              </a:rPr>
              <a:t>Only consider FTEs </a:t>
            </a:r>
            <a:r>
              <a:rPr kumimoji="0" lang="en-GB" sz="1400" b="1" i="1" u="sng"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sym typeface="Wingdings" panose="05000000000000000000" pitchFamily="2" charset="2"/>
              </a:rPr>
              <a:t>relevant to the management of the 2021-2027 CPR Funds</a:t>
            </a:r>
            <a:r>
              <a:rPr kumimoji="0" lang="en-GB" sz="1400" b="1"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sym typeface="Wingdings" panose="05000000000000000000" pitchFamily="2" charset="2"/>
              </a:rPr>
              <a:t>.</a:t>
            </a:r>
            <a:endParaRPr kumimoji="0" lang="en-GB" sz="1400" b="1"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endParaRPr>
          </a:p>
        </p:txBody>
      </p:sp>
      <p:sp>
        <p:nvSpPr>
          <p:cNvPr id="2" name="Action Button: Go to Beginning 1">
            <a:hlinkClick r:id="rId4" action="ppaction://hlinksldjump" highlightClick="1"/>
            <a:extLst>
              <a:ext uri="{FF2B5EF4-FFF2-40B4-BE49-F238E27FC236}">
                <a16:creationId xmlns:a16="http://schemas.microsoft.com/office/drawing/2014/main" id="{CD7E5149-2C0F-5C8C-4E95-04B2C9BBAA23}"/>
              </a:ext>
            </a:extLst>
          </p:cNvPr>
          <p:cNvSpPr/>
          <p:nvPr/>
        </p:nvSpPr>
        <p:spPr>
          <a:xfrm>
            <a:off x="11215991" y="6352162"/>
            <a:ext cx="778213" cy="398834"/>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BE" sz="2000" err="1"/>
          </a:p>
        </p:txBody>
      </p:sp>
      <p:sp>
        <p:nvSpPr>
          <p:cNvPr id="5" name="TextBox 4">
            <a:extLst>
              <a:ext uri="{FF2B5EF4-FFF2-40B4-BE49-F238E27FC236}">
                <a16:creationId xmlns:a16="http://schemas.microsoft.com/office/drawing/2014/main" id="{CE0A2350-7706-B88D-606E-A7078CBE6442}"/>
              </a:ext>
            </a:extLst>
          </p:cNvPr>
          <p:cNvSpPr txBox="1"/>
          <p:nvPr/>
        </p:nvSpPr>
        <p:spPr bwMode="auto">
          <a:xfrm>
            <a:off x="10437778" y="6397690"/>
            <a:ext cx="778213" cy="3077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fr-FR" sz="1000" b="0" i="1" u="none" strike="noStrike" kern="1200" cap="none" spc="0" normalizeH="0" baseline="0" noProof="0">
                <a:ln>
                  <a:noFill/>
                </a:ln>
                <a:solidFill>
                  <a:schemeClr val="tx2"/>
                </a:solidFill>
                <a:effectLst/>
                <a:uLnTx/>
                <a:uFillTx/>
                <a:latin typeface="Verdana"/>
                <a:ea typeface="Verdana" pitchFamily="34" charset="0"/>
                <a:cs typeface="Verdana" pitchFamily="34" charset="0"/>
              </a:rPr>
              <a:t>Go to table of content</a:t>
            </a:r>
            <a:endParaRPr kumimoji="0" lang="nl-BE" sz="1000" b="0" i="1" u="none" strike="noStrike" kern="1200" cap="none" spc="0" normalizeH="0" baseline="0" noProof="0" err="1">
              <a:ln>
                <a:noFill/>
              </a:ln>
              <a:solidFill>
                <a:schemeClr val="tx2"/>
              </a:solidFill>
              <a:effectLst/>
              <a:uLnTx/>
              <a:uFillTx/>
              <a:latin typeface="Verdana"/>
              <a:ea typeface="Verdana" pitchFamily="34" charset="0"/>
              <a:cs typeface="Verdana" pitchFamily="34" charset="0"/>
            </a:endParaRPr>
          </a:p>
        </p:txBody>
      </p:sp>
    </p:spTree>
    <p:extLst>
      <p:ext uri="{BB962C8B-B14F-4D97-AF65-F5344CB8AC3E}">
        <p14:creationId xmlns:p14="http://schemas.microsoft.com/office/powerpoint/2010/main" val="21957211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2767DA1-8B40-0CFA-BF01-E288E55F3493}"/>
              </a:ext>
            </a:extLst>
          </p:cNvPr>
          <p:cNvSpPr/>
          <p:nvPr/>
        </p:nvSpPr>
        <p:spPr>
          <a:xfrm>
            <a:off x="0" y="0"/>
            <a:ext cx="12190413" cy="1066800"/>
          </a:xfrm>
          <a:prstGeom prst="rect">
            <a:avLst/>
          </a:prstGeom>
          <a:solidFill>
            <a:schemeClr val="accent1">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96000" lvl="2" indent="0">
              <a:buNone/>
            </a:pPr>
            <a:r>
              <a:rPr lang="en-GB" sz="2600" b="1" dirty="0">
                <a:latin typeface="Gotham Rounded Light" pitchFamily="50" charset="0"/>
              </a:rPr>
              <a:t>Overhead Costs</a:t>
            </a:r>
          </a:p>
        </p:txBody>
      </p:sp>
      <p:sp>
        <p:nvSpPr>
          <p:cNvPr id="2" name="TextBox 1">
            <a:extLst>
              <a:ext uri="{FF2B5EF4-FFF2-40B4-BE49-F238E27FC236}">
                <a16:creationId xmlns:a16="http://schemas.microsoft.com/office/drawing/2014/main" id="{093BA951-E12A-3E85-7210-3DBAF461F2AD}"/>
              </a:ext>
            </a:extLst>
          </p:cNvPr>
          <p:cNvSpPr txBox="1"/>
          <p:nvPr/>
        </p:nvSpPr>
        <p:spPr bwMode="auto">
          <a:xfrm>
            <a:off x="466725" y="1214824"/>
            <a:ext cx="8458200" cy="113877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200" eaLnBrk="0" hangingPunct="0"/>
            <a:r>
              <a:rPr kumimoji="0" lang="en-GB" sz="1800" b="1"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Part 2 – Administrative Practices</a:t>
            </a:r>
            <a:endParaRPr lang="en-GB" b="1" spc="0" dirty="0"/>
          </a:p>
          <a:p>
            <a:pPr defTabSz="457200" eaLnBrk="0" hangingPunct="0"/>
            <a:endParaRPr lang="en-GB" b="1" spc="0" dirty="0"/>
          </a:p>
          <a:p>
            <a:pPr defTabSz="457200" eaLnBrk="0" hangingPunct="0"/>
            <a:endParaRPr kumimoji="0" lang="en-GB" sz="1800" b="1" i="0" u="none" strike="noStrike" kern="1200" cap="none" spc="0" normalizeH="0" baseline="0" noProof="0" dirty="0">
              <a:ln>
                <a:noFill/>
              </a:ln>
              <a:solidFill>
                <a:schemeClr val="tx1"/>
              </a:solidFill>
              <a:effectLst/>
              <a:uLnTx/>
              <a:uFillTx/>
              <a:latin typeface="Verdana"/>
              <a:ea typeface="Verdana" pitchFamily="34" charset="0"/>
              <a:cs typeface="Verdana" pitchFamily="34" charset="0"/>
            </a:endParaRPr>
          </a:p>
        </p:txBody>
      </p:sp>
      <p:sp>
        <p:nvSpPr>
          <p:cNvPr id="7" name="Freeform: Shape 6">
            <a:extLst>
              <a:ext uri="{FF2B5EF4-FFF2-40B4-BE49-F238E27FC236}">
                <a16:creationId xmlns:a16="http://schemas.microsoft.com/office/drawing/2014/main" id="{D15EE47D-95EC-4837-EA51-BE595FA1FFF8}"/>
              </a:ext>
            </a:extLst>
          </p:cNvPr>
          <p:cNvSpPr/>
          <p:nvPr/>
        </p:nvSpPr>
        <p:spPr>
          <a:xfrm>
            <a:off x="628650" y="4686300"/>
            <a:ext cx="5372100" cy="1704975"/>
          </a:xfrm>
          <a:custGeom>
            <a:avLst/>
            <a:gdLst>
              <a:gd name="connsiteX0" fmla="*/ 0 w 5372100"/>
              <a:gd name="connsiteY0" fmla="*/ 0 h 1704975"/>
              <a:gd name="connsiteX1" fmla="*/ 1162050 w 5372100"/>
              <a:gd name="connsiteY1" fmla="*/ 361950 h 1704975"/>
              <a:gd name="connsiteX2" fmla="*/ 4305300 w 5372100"/>
              <a:gd name="connsiteY2" fmla="*/ 1447800 h 1704975"/>
              <a:gd name="connsiteX3" fmla="*/ 5324475 w 5372100"/>
              <a:gd name="connsiteY3" fmla="*/ 1704975 h 1704975"/>
              <a:gd name="connsiteX4" fmla="*/ 5372100 w 5372100"/>
              <a:gd name="connsiteY4" fmla="*/ 1628775 h 1704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100" h="1704975">
                <a:moveTo>
                  <a:pt x="0" y="0"/>
                </a:moveTo>
                <a:cubicBezTo>
                  <a:pt x="387350" y="120650"/>
                  <a:pt x="777506" y="232634"/>
                  <a:pt x="1162050" y="361950"/>
                </a:cubicBezTo>
                <a:cubicBezTo>
                  <a:pt x="2212739" y="715279"/>
                  <a:pt x="3250347" y="1107415"/>
                  <a:pt x="4305300" y="1447800"/>
                </a:cubicBezTo>
                <a:cubicBezTo>
                  <a:pt x="4638747" y="1555388"/>
                  <a:pt x="4984750" y="1619250"/>
                  <a:pt x="5324475" y="1704975"/>
                </a:cubicBezTo>
                <a:lnTo>
                  <a:pt x="5372100" y="1628775"/>
                </a:lnTo>
              </a:path>
            </a:pathLst>
          </a:cu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CF07660C-BDBA-2681-4D6F-2C6D9A050CA2}"/>
              </a:ext>
            </a:extLst>
          </p:cNvPr>
          <p:cNvPicPr>
            <a:picLocks noChangeAspect="1"/>
          </p:cNvPicPr>
          <p:nvPr/>
        </p:nvPicPr>
        <p:blipFill>
          <a:blip r:embed="rId3"/>
          <a:stretch>
            <a:fillRect/>
          </a:stretch>
        </p:blipFill>
        <p:spPr>
          <a:xfrm>
            <a:off x="307927" y="1784210"/>
            <a:ext cx="8261609" cy="2265649"/>
          </a:xfrm>
          <a:prstGeom prst="rect">
            <a:avLst/>
          </a:prstGeom>
        </p:spPr>
      </p:pic>
      <p:cxnSp>
        <p:nvCxnSpPr>
          <p:cNvPr id="11" name="Straight Arrow Connector 10">
            <a:extLst>
              <a:ext uri="{FF2B5EF4-FFF2-40B4-BE49-F238E27FC236}">
                <a16:creationId xmlns:a16="http://schemas.microsoft.com/office/drawing/2014/main" id="{FF906A53-B9DC-EC25-25EF-F69E711A40EB}"/>
              </a:ext>
            </a:extLst>
          </p:cNvPr>
          <p:cNvCxnSpPr>
            <a:cxnSpLocks/>
          </p:cNvCxnSpPr>
          <p:nvPr/>
        </p:nvCxnSpPr>
        <p:spPr>
          <a:xfrm flipH="1">
            <a:off x="5296250" y="1496447"/>
            <a:ext cx="644898" cy="599458"/>
          </a:xfrm>
          <a:prstGeom prst="straightConnector1">
            <a:avLst/>
          </a:prstGeom>
          <a:ln w="571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D885FAA1-DCF5-082B-5047-0EF8F5B41BCB}"/>
              </a:ext>
            </a:extLst>
          </p:cNvPr>
          <p:cNvSpPr txBox="1"/>
          <p:nvPr/>
        </p:nvSpPr>
        <p:spPr bwMode="auto">
          <a:xfrm>
            <a:off x="6000750" y="1356810"/>
            <a:ext cx="2500685" cy="246221"/>
          </a:xfrm>
          <a:prstGeom prst="rect">
            <a:avLst/>
          </a:prstGeom>
          <a:noFill/>
          <a:ln w="9525">
            <a:noFill/>
            <a:miter lim="800000"/>
            <a:headEnd/>
            <a:tailEnd/>
          </a:ln>
          <a:effectLst/>
        </p:spPr>
        <p:txBody>
          <a:bodyPr vert="horz" wrap="non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600" b="0" i="1" u="none" strike="noStrike" kern="1200" cap="none" spc="0" normalizeH="0" baseline="0" noProof="0" dirty="0">
                <a:ln>
                  <a:noFill/>
                </a:ln>
                <a:solidFill>
                  <a:schemeClr val="tx2"/>
                </a:solidFill>
                <a:effectLst/>
                <a:uLnTx/>
                <a:uFillTx/>
                <a:latin typeface="Verdana"/>
                <a:ea typeface="Verdana" pitchFamily="34" charset="0"/>
                <a:cs typeface="Verdana" pitchFamily="34" charset="0"/>
              </a:rPr>
              <a:t>See slide above on FTEs</a:t>
            </a:r>
          </a:p>
        </p:txBody>
      </p:sp>
      <p:sp>
        <p:nvSpPr>
          <p:cNvPr id="16" name="TextBox 15">
            <a:extLst>
              <a:ext uri="{FF2B5EF4-FFF2-40B4-BE49-F238E27FC236}">
                <a16:creationId xmlns:a16="http://schemas.microsoft.com/office/drawing/2014/main" id="{AE87824C-6EDC-7B64-E762-5EF40467191A}"/>
              </a:ext>
            </a:extLst>
          </p:cNvPr>
          <p:cNvSpPr txBox="1"/>
          <p:nvPr/>
        </p:nvSpPr>
        <p:spPr bwMode="auto">
          <a:xfrm>
            <a:off x="1311089" y="4233308"/>
            <a:ext cx="5583260" cy="2431435"/>
          </a:xfrm>
          <a:prstGeom prst="rect">
            <a:avLst/>
          </a:prstGeom>
          <a:noFill/>
          <a:ln w="9525">
            <a:noFill/>
            <a:miter lim="800000"/>
            <a:headEnd/>
            <a:tailEnd/>
          </a:ln>
          <a:effectLst/>
        </p:spPr>
        <p:txBody>
          <a:bodyPr vert="horz" wrap="non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400" b="1" u="none" strike="noStrike" kern="1200" cap="none" spc="0" normalizeH="0" baseline="0" noProof="0" dirty="0">
                <a:ln>
                  <a:noFill/>
                </a:ln>
                <a:effectLst/>
                <a:uLnTx/>
                <a:uFillTx/>
                <a:latin typeface="Verdana"/>
                <a:ea typeface="Verdana" pitchFamily="34" charset="0"/>
                <a:cs typeface="Verdana" pitchFamily="34" charset="0"/>
              </a:rPr>
              <a:t>Overhead costs include: </a:t>
            </a:r>
          </a:p>
          <a:p>
            <a:pPr marR="0" algn="l" defTabSz="457200" rtl="0" eaLnBrk="0" fontAlgn="base" latinLnBrk="0" hangingPunct="0">
              <a:spcBef>
                <a:spcPct val="0"/>
              </a:spcBef>
              <a:buClrTx/>
              <a:buSzTx/>
              <a:tabLst/>
            </a:pPr>
            <a:r>
              <a:rPr kumimoji="0" lang="en-GB" sz="1400" b="1"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 </a:t>
            </a:r>
            <a:r>
              <a:rPr kumimoji="0" lang="en-GB" sz="140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Common services (reception, registry, etc.)</a:t>
            </a:r>
          </a:p>
          <a:p>
            <a:pPr marR="0" algn="l" defTabSz="457200" rtl="0" eaLnBrk="0" fontAlgn="base" latinLnBrk="0" hangingPunct="0">
              <a:spcBef>
                <a:spcPct val="0"/>
              </a:spcBef>
              <a:buClrTx/>
              <a:buSzTx/>
              <a:tabLst/>
            </a:pPr>
            <a:r>
              <a:rPr kumimoji="0" lang="en-GB" sz="140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 Telephone,</a:t>
            </a:r>
            <a:r>
              <a:rPr lang="en-GB" sz="1400" i="1" spc="0" dirty="0">
                <a:solidFill>
                  <a:schemeClr val="accent1">
                    <a:lumMod val="50000"/>
                  </a:schemeClr>
                </a:solidFill>
              </a:rPr>
              <a:t> Fax, Internet</a:t>
            </a:r>
          </a:p>
          <a:p>
            <a:pPr marR="0" algn="l" defTabSz="457200" rtl="0" eaLnBrk="0" fontAlgn="base" latinLnBrk="0" hangingPunct="0">
              <a:spcBef>
                <a:spcPct val="0"/>
              </a:spcBef>
              <a:buClrTx/>
              <a:buSzTx/>
              <a:tabLst/>
            </a:pPr>
            <a:r>
              <a:rPr kumimoji="0" lang="en-GB" sz="140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 Office </a:t>
            </a:r>
            <a:r>
              <a:rPr lang="en-GB" sz="1400" i="1" spc="0" dirty="0">
                <a:solidFill>
                  <a:schemeClr val="accent1">
                    <a:lumMod val="50000"/>
                  </a:schemeClr>
                </a:solidFill>
              </a:rPr>
              <a:t>rent</a:t>
            </a:r>
          </a:p>
          <a:p>
            <a:pPr marR="0" algn="l" defTabSz="457200" rtl="0" eaLnBrk="0" fontAlgn="base" latinLnBrk="0" hangingPunct="0">
              <a:spcBef>
                <a:spcPct val="0"/>
              </a:spcBef>
              <a:buClrTx/>
              <a:buSzTx/>
              <a:tabLst/>
            </a:pPr>
            <a:r>
              <a:rPr lang="en-GB" sz="1400" i="1" spc="0" dirty="0">
                <a:solidFill>
                  <a:schemeClr val="accent1">
                    <a:lumMod val="50000"/>
                  </a:schemeClr>
                </a:solidFill>
              </a:rPr>
              <a:t>- Stationary</a:t>
            </a:r>
          </a:p>
          <a:p>
            <a:pPr marR="0" algn="l" defTabSz="457200" rtl="0" eaLnBrk="0" fontAlgn="base" latinLnBrk="0" hangingPunct="0">
              <a:spcBef>
                <a:spcPct val="0"/>
              </a:spcBef>
              <a:buClrTx/>
              <a:buSzTx/>
              <a:tabLst/>
            </a:pPr>
            <a:r>
              <a:rPr kumimoji="0" lang="en-GB" sz="140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 Etc.</a:t>
            </a:r>
          </a:p>
          <a:p>
            <a:pPr marR="0" algn="l" defTabSz="457200" rtl="0" eaLnBrk="0" fontAlgn="base" latinLnBrk="0" hangingPunct="0">
              <a:spcBef>
                <a:spcPct val="0"/>
              </a:spcBef>
              <a:buClrTx/>
              <a:buSzTx/>
              <a:tabLst/>
            </a:pPr>
            <a:r>
              <a:rPr lang="en-GB" sz="1400" b="1" i="1" spc="0" dirty="0">
                <a:solidFill>
                  <a:schemeClr val="accent4"/>
                </a:solidFill>
              </a:rPr>
              <a:t>+ EXTERNAL COSTS (E.g., amount paid to consultants!)</a:t>
            </a:r>
            <a:endParaRPr kumimoji="0" lang="en-GB" sz="1400" b="1" i="1" u="none" strike="noStrike" kern="1200" cap="none" spc="0" normalizeH="0" baseline="0" noProof="0" dirty="0">
              <a:ln>
                <a:noFill/>
              </a:ln>
              <a:solidFill>
                <a:schemeClr val="accent4"/>
              </a:solidFill>
              <a:effectLst/>
              <a:uLnTx/>
              <a:uFillTx/>
              <a:latin typeface="Verdana"/>
              <a:ea typeface="Verdana" pitchFamily="34" charset="0"/>
              <a:cs typeface="Verdana" pitchFamily="34" charset="0"/>
            </a:endParaRPr>
          </a:p>
        </p:txBody>
      </p:sp>
      <p:sp>
        <p:nvSpPr>
          <p:cNvPr id="17" name="Right Brace 16">
            <a:extLst>
              <a:ext uri="{FF2B5EF4-FFF2-40B4-BE49-F238E27FC236}">
                <a16:creationId xmlns:a16="http://schemas.microsoft.com/office/drawing/2014/main" id="{6CC175CB-A233-78E8-2183-093FB9B53B26}"/>
              </a:ext>
            </a:extLst>
          </p:cNvPr>
          <p:cNvSpPr/>
          <p:nvPr/>
        </p:nvSpPr>
        <p:spPr>
          <a:xfrm>
            <a:off x="5633143" y="4231038"/>
            <a:ext cx="185908" cy="1963037"/>
          </a:xfrm>
          <a:prstGeom prst="rightBrac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8" name="TextBox 17">
            <a:extLst>
              <a:ext uri="{FF2B5EF4-FFF2-40B4-BE49-F238E27FC236}">
                <a16:creationId xmlns:a16="http://schemas.microsoft.com/office/drawing/2014/main" id="{52EA9E1E-3526-1A68-4AC7-817BD8794B8E}"/>
              </a:ext>
            </a:extLst>
          </p:cNvPr>
          <p:cNvSpPr txBox="1"/>
          <p:nvPr/>
        </p:nvSpPr>
        <p:spPr bwMode="auto">
          <a:xfrm>
            <a:off x="5962130" y="4889392"/>
            <a:ext cx="4939553" cy="64633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defTabSz="457200" rtl="0" eaLnBrk="0" fontAlgn="base" latinLnBrk="0" hangingPunct="0">
              <a:spcBef>
                <a:spcPct val="0"/>
              </a:spcBef>
              <a:buClrTx/>
              <a:buSzTx/>
              <a:tabLst/>
            </a:pPr>
            <a:r>
              <a:rPr lang="en-GB" sz="1400" i="1" spc="0" dirty="0"/>
              <a:t>If necessary, estimate the proportion of those taken up by the management of the 2021-2027 CPR Funds within the organisation/ministry/…</a:t>
            </a:r>
            <a:endParaRPr kumimoji="0" lang="en-GB" sz="1400" b="0" i="1" u="none" strike="noStrike" kern="1200" cap="none" spc="0" normalizeH="0" baseline="0" noProof="0" dirty="0" err="1">
              <a:ln>
                <a:noFill/>
              </a:ln>
              <a:solidFill>
                <a:schemeClr val="tx1"/>
              </a:solidFill>
              <a:effectLst/>
              <a:uLnTx/>
              <a:uFillTx/>
              <a:latin typeface="Verdana"/>
              <a:ea typeface="Verdana" pitchFamily="34" charset="0"/>
              <a:cs typeface="Verdana" pitchFamily="34" charset="0"/>
            </a:endParaRPr>
          </a:p>
        </p:txBody>
      </p:sp>
      <p:cxnSp>
        <p:nvCxnSpPr>
          <p:cNvPr id="19" name="Straight Arrow Connector 18">
            <a:extLst>
              <a:ext uri="{FF2B5EF4-FFF2-40B4-BE49-F238E27FC236}">
                <a16:creationId xmlns:a16="http://schemas.microsoft.com/office/drawing/2014/main" id="{CCA8DD31-7A48-D62D-E736-FB70DDDFCC7F}"/>
              </a:ext>
            </a:extLst>
          </p:cNvPr>
          <p:cNvCxnSpPr>
            <a:cxnSpLocks/>
          </p:cNvCxnSpPr>
          <p:nvPr/>
        </p:nvCxnSpPr>
        <p:spPr>
          <a:xfrm flipV="1">
            <a:off x="5819051" y="2725271"/>
            <a:ext cx="0" cy="1434353"/>
          </a:xfrm>
          <a:prstGeom prst="straightConnector1">
            <a:avLst/>
          </a:prstGeom>
          <a:ln w="57150">
            <a:solidFill>
              <a:schemeClr val="accent4">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4" name="Rectangle 23">
            <a:extLst>
              <a:ext uri="{FF2B5EF4-FFF2-40B4-BE49-F238E27FC236}">
                <a16:creationId xmlns:a16="http://schemas.microsoft.com/office/drawing/2014/main" id="{E37A598A-2C2A-D20B-129B-72A7DD234624}"/>
              </a:ext>
            </a:extLst>
          </p:cNvPr>
          <p:cNvSpPr/>
          <p:nvPr/>
        </p:nvSpPr>
        <p:spPr>
          <a:xfrm>
            <a:off x="1174376" y="4159624"/>
            <a:ext cx="9906000" cy="2608729"/>
          </a:xfrm>
          <a:prstGeom prst="rect">
            <a:avLst/>
          </a:prstGeom>
          <a:noFill/>
          <a:ln w="28575">
            <a:solidFill>
              <a:schemeClr val="accent4">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 name="Action Button: Go to Beginning 2">
            <a:hlinkClick r:id="rId4" action="ppaction://hlinksldjump" highlightClick="1"/>
            <a:extLst>
              <a:ext uri="{FF2B5EF4-FFF2-40B4-BE49-F238E27FC236}">
                <a16:creationId xmlns:a16="http://schemas.microsoft.com/office/drawing/2014/main" id="{8AA1FBA6-6657-11C9-87CB-8B3C1E6076A8}"/>
              </a:ext>
            </a:extLst>
          </p:cNvPr>
          <p:cNvSpPr/>
          <p:nvPr/>
        </p:nvSpPr>
        <p:spPr>
          <a:xfrm>
            <a:off x="11215991" y="6352162"/>
            <a:ext cx="778213" cy="398834"/>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BE" sz="2000" err="1"/>
          </a:p>
        </p:txBody>
      </p:sp>
      <p:sp>
        <p:nvSpPr>
          <p:cNvPr id="5" name="TextBox 4">
            <a:extLst>
              <a:ext uri="{FF2B5EF4-FFF2-40B4-BE49-F238E27FC236}">
                <a16:creationId xmlns:a16="http://schemas.microsoft.com/office/drawing/2014/main" id="{2877BBA4-3E66-7E64-E1CD-D8AC467BB3C6}"/>
              </a:ext>
            </a:extLst>
          </p:cNvPr>
          <p:cNvSpPr txBox="1"/>
          <p:nvPr/>
        </p:nvSpPr>
        <p:spPr bwMode="auto">
          <a:xfrm>
            <a:off x="10437778" y="6397690"/>
            <a:ext cx="778213" cy="3077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fr-FR" sz="1000" b="0" i="1" u="none" strike="noStrike" kern="1200" cap="none" spc="0" normalizeH="0" baseline="0" noProof="0">
                <a:ln>
                  <a:noFill/>
                </a:ln>
                <a:solidFill>
                  <a:schemeClr val="tx2"/>
                </a:solidFill>
                <a:effectLst/>
                <a:uLnTx/>
                <a:uFillTx/>
                <a:latin typeface="Verdana"/>
                <a:ea typeface="Verdana" pitchFamily="34" charset="0"/>
                <a:cs typeface="Verdana" pitchFamily="34" charset="0"/>
              </a:rPr>
              <a:t>Go to table of content</a:t>
            </a:r>
            <a:endParaRPr kumimoji="0" lang="nl-BE" sz="1000" b="0" i="1" u="none" strike="noStrike" kern="1200" cap="none" spc="0" normalizeH="0" baseline="0" noProof="0" err="1">
              <a:ln>
                <a:noFill/>
              </a:ln>
              <a:solidFill>
                <a:schemeClr val="tx2"/>
              </a:solidFill>
              <a:effectLst/>
              <a:uLnTx/>
              <a:uFillTx/>
              <a:latin typeface="Verdana"/>
              <a:ea typeface="Verdana" pitchFamily="34" charset="0"/>
              <a:cs typeface="Verdana" pitchFamily="34" charset="0"/>
            </a:endParaRPr>
          </a:p>
        </p:txBody>
      </p:sp>
    </p:spTree>
    <p:extLst>
      <p:ext uri="{BB962C8B-B14F-4D97-AF65-F5344CB8AC3E}">
        <p14:creationId xmlns:p14="http://schemas.microsoft.com/office/powerpoint/2010/main" val="6320918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2767DA1-8B40-0CFA-BF01-E288E55F3493}"/>
              </a:ext>
            </a:extLst>
          </p:cNvPr>
          <p:cNvSpPr/>
          <p:nvPr/>
        </p:nvSpPr>
        <p:spPr>
          <a:xfrm>
            <a:off x="0" y="0"/>
            <a:ext cx="12190413" cy="1066800"/>
          </a:xfrm>
          <a:prstGeom prst="rect">
            <a:avLst/>
          </a:prstGeom>
          <a:solidFill>
            <a:schemeClr val="accent1">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96000" lvl="2" indent="0">
              <a:buNone/>
            </a:pPr>
            <a:r>
              <a:rPr lang="en-GB" sz="2600" b="1" dirty="0">
                <a:latin typeface="Gotham Rounded Light" pitchFamily="50" charset="0"/>
              </a:rPr>
              <a:t>Reporting Eligible Budgets and FTEs per Task Area</a:t>
            </a:r>
          </a:p>
        </p:txBody>
      </p:sp>
      <p:pic>
        <p:nvPicPr>
          <p:cNvPr id="5" name="Picture 4">
            <a:extLst>
              <a:ext uri="{FF2B5EF4-FFF2-40B4-BE49-F238E27FC236}">
                <a16:creationId xmlns:a16="http://schemas.microsoft.com/office/drawing/2014/main" id="{D37646C1-D7CD-07BD-6994-A652139A8D25}"/>
              </a:ext>
            </a:extLst>
          </p:cNvPr>
          <p:cNvPicPr>
            <a:picLocks noChangeAspect="1"/>
          </p:cNvPicPr>
          <p:nvPr/>
        </p:nvPicPr>
        <p:blipFill>
          <a:blip r:embed="rId3"/>
          <a:stretch>
            <a:fillRect/>
          </a:stretch>
        </p:blipFill>
        <p:spPr>
          <a:xfrm>
            <a:off x="312971" y="1783649"/>
            <a:ext cx="5714032" cy="1380891"/>
          </a:xfrm>
          <a:prstGeom prst="rect">
            <a:avLst/>
          </a:prstGeom>
        </p:spPr>
      </p:pic>
      <p:sp>
        <p:nvSpPr>
          <p:cNvPr id="8" name="Right Brace 7">
            <a:extLst>
              <a:ext uri="{FF2B5EF4-FFF2-40B4-BE49-F238E27FC236}">
                <a16:creationId xmlns:a16="http://schemas.microsoft.com/office/drawing/2014/main" id="{4AFC36CF-DC6B-B509-8D6C-73B2A056869B}"/>
              </a:ext>
            </a:extLst>
          </p:cNvPr>
          <p:cNvSpPr/>
          <p:nvPr/>
        </p:nvSpPr>
        <p:spPr>
          <a:xfrm>
            <a:off x="6095206" y="1783649"/>
            <a:ext cx="220810" cy="1281416"/>
          </a:xfrm>
          <a:prstGeom prst="rightBrace">
            <a:avLst/>
          </a:prstGeom>
          <a:ln w="9525">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9" name="TextBox 8">
            <a:extLst>
              <a:ext uri="{FF2B5EF4-FFF2-40B4-BE49-F238E27FC236}">
                <a16:creationId xmlns:a16="http://schemas.microsoft.com/office/drawing/2014/main" id="{FA260569-1F83-7FF4-6FEC-463F355634DC}"/>
              </a:ext>
            </a:extLst>
          </p:cNvPr>
          <p:cNvSpPr txBox="1"/>
          <p:nvPr/>
        </p:nvSpPr>
        <p:spPr bwMode="auto">
          <a:xfrm>
            <a:off x="6384219" y="2300925"/>
            <a:ext cx="5866895"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defTabSz="457200" rtl="0" eaLnBrk="0" fontAlgn="base" latinLnBrk="0" hangingPunct="0">
              <a:spcBef>
                <a:spcPct val="0"/>
              </a:spcBef>
              <a:buClrTx/>
              <a:buSzTx/>
              <a:tabLst/>
            </a:pPr>
            <a:r>
              <a:rPr lang="en-GB" sz="1400" b="1" i="1" spc="0" dirty="0">
                <a:solidFill>
                  <a:schemeClr val="tx2"/>
                </a:solidFill>
              </a:rPr>
              <a:t>Automatically filled</a:t>
            </a:r>
            <a:endParaRPr kumimoji="0" lang="en-GB" sz="1400" b="1" i="1" u="none" strike="noStrike" kern="1200" cap="none" spc="0" normalizeH="0" baseline="0" noProof="0" dirty="0" err="1">
              <a:ln>
                <a:noFill/>
              </a:ln>
              <a:solidFill>
                <a:schemeClr val="tx2"/>
              </a:solidFill>
              <a:effectLst/>
              <a:uLnTx/>
              <a:uFillTx/>
              <a:latin typeface="Verdana"/>
              <a:ea typeface="Verdana" pitchFamily="34" charset="0"/>
              <a:cs typeface="Verdana" pitchFamily="34" charset="0"/>
            </a:endParaRPr>
          </a:p>
        </p:txBody>
      </p:sp>
      <p:pic>
        <p:nvPicPr>
          <p:cNvPr id="13" name="Picture 12">
            <a:extLst>
              <a:ext uri="{FF2B5EF4-FFF2-40B4-BE49-F238E27FC236}">
                <a16:creationId xmlns:a16="http://schemas.microsoft.com/office/drawing/2014/main" id="{E40E7D60-AF86-457D-D818-2AFC7D8C6106}"/>
              </a:ext>
            </a:extLst>
          </p:cNvPr>
          <p:cNvPicPr>
            <a:picLocks noChangeAspect="1"/>
          </p:cNvPicPr>
          <p:nvPr/>
        </p:nvPicPr>
        <p:blipFill>
          <a:blip r:embed="rId4"/>
          <a:stretch>
            <a:fillRect/>
          </a:stretch>
        </p:blipFill>
        <p:spPr>
          <a:xfrm>
            <a:off x="312971" y="1503884"/>
            <a:ext cx="2552700" cy="361950"/>
          </a:xfrm>
          <a:prstGeom prst="rect">
            <a:avLst/>
          </a:prstGeom>
        </p:spPr>
      </p:pic>
      <p:pic>
        <p:nvPicPr>
          <p:cNvPr id="15" name="Picture 14">
            <a:extLst>
              <a:ext uri="{FF2B5EF4-FFF2-40B4-BE49-F238E27FC236}">
                <a16:creationId xmlns:a16="http://schemas.microsoft.com/office/drawing/2014/main" id="{68FBE477-18EC-3BDE-2EFA-FB3E54B9EF7D}"/>
              </a:ext>
            </a:extLst>
          </p:cNvPr>
          <p:cNvPicPr>
            <a:picLocks noChangeAspect="1"/>
          </p:cNvPicPr>
          <p:nvPr/>
        </p:nvPicPr>
        <p:blipFill>
          <a:blip r:embed="rId5"/>
          <a:stretch>
            <a:fillRect/>
          </a:stretch>
        </p:blipFill>
        <p:spPr>
          <a:xfrm>
            <a:off x="2119386" y="3429794"/>
            <a:ext cx="8172450" cy="2819400"/>
          </a:xfrm>
          <a:prstGeom prst="rect">
            <a:avLst/>
          </a:prstGeom>
        </p:spPr>
      </p:pic>
      <p:sp>
        <p:nvSpPr>
          <p:cNvPr id="20" name="Right Brace 19">
            <a:extLst>
              <a:ext uri="{FF2B5EF4-FFF2-40B4-BE49-F238E27FC236}">
                <a16:creationId xmlns:a16="http://schemas.microsoft.com/office/drawing/2014/main" id="{BCC0E84D-9429-E641-2F4D-D4F7E1257810}"/>
              </a:ext>
            </a:extLst>
          </p:cNvPr>
          <p:cNvSpPr/>
          <p:nvPr/>
        </p:nvSpPr>
        <p:spPr>
          <a:xfrm flipH="1">
            <a:off x="2683996" y="4484937"/>
            <a:ext cx="123565" cy="412377"/>
          </a:xfrm>
          <a:prstGeom prst="rightBrace">
            <a:avLst/>
          </a:prstGeom>
          <a:ln w="38100">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21" name="TextBox 20">
            <a:extLst>
              <a:ext uri="{FF2B5EF4-FFF2-40B4-BE49-F238E27FC236}">
                <a16:creationId xmlns:a16="http://schemas.microsoft.com/office/drawing/2014/main" id="{B15A48A8-CA68-2C1E-E3DC-6D3113BCF880}"/>
              </a:ext>
            </a:extLst>
          </p:cNvPr>
          <p:cNvSpPr txBox="1"/>
          <p:nvPr/>
        </p:nvSpPr>
        <p:spPr bwMode="auto">
          <a:xfrm>
            <a:off x="147930" y="3552839"/>
            <a:ext cx="1909674" cy="129266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defTabSz="457200" rtl="0" eaLnBrk="0" fontAlgn="base" latinLnBrk="0" hangingPunct="0">
              <a:spcBef>
                <a:spcPct val="0"/>
              </a:spcBef>
              <a:buClrTx/>
              <a:buSzTx/>
              <a:tabLst/>
            </a:pPr>
            <a:r>
              <a:rPr kumimoji="0" lang="en-GB" sz="1400" b="1" i="1" u="none" strike="noStrike" kern="1200" cap="none" spc="0" normalizeH="0" baseline="0" noProof="0" dirty="0">
                <a:ln>
                  <a:noFill/>
                </a:ln>
                <a:solidFill>
                  <a:schemeClr val="tx2"/>
                </a:solidFill>
                <a:effectLst/>
                <a:uLnTx/>
                <a:uFillTx/>
                <a:latin typeface="Verdana"/>
                <a:ea typeface="Verdana" pitchFamily="34" charset="0"/>
                <a:cs typeface="Verdana" pitchFamily="34" charset="0"/>
              </a:rPr>
              <a:t>Managing and Audit Authorities. </a:t>
            </a:r>
            <a:r>
              <a:rPr lang="en-GB" sz="1400" i="1" spc="0" dirty="0">
                <a:solidFill>
                  <a:schemeClr val="tx2"/>
                </a:solidFill>
              </a:rPr>
              <a:t>The lines appear when they fill the names in the background section</a:t>
            </a:r>
            <a:endParaRPr kumimoji="0" lang="en-GB" sz="1400" i="1" u="none" strike="noStrike" kern="1200" cap="none" spc="0" normalizeH="0" baseline="0" noProof="0" dirty="0" err="1">
              <a:ln>
                <a:noFill/>
              </a:ln>
              <a:solidFill>
                <a:schemeClr val="tx2"/>
              </a:solidFill>
              <a:effectLst/>
              <a:uLnTx/>
              <a:uFillTx/>
              <a:latin typeface="Verdana"/>
              <a:ea typeface="Verdana" pitchFamily="34" charset="0"/>
              <a:cs typeface="Verdana" pitchFamily="34" charset="0"/>
            </a:endParaRPr>
          </a:p>
        </p:txBody>
      </p:sp>
      <p:cxnSp>
        <p:nvCxnSpPr>
          <p:cNvPr id="22" name="Straight Arrow Connector 21">
            <a:extLst>
              <a:ext uri="{FF2B5EF4-FFF2-40B4-BE49-F238E27FC236}">
                <a16:creationId xmlns:a16="http://schemas.microsoft.com/office/drawing/2014/main" id="{C775518F-C519-A83E-9845-E2FB206D5234}"/>
              </a:ext>
            </a:extLst>
          </p:cNvPr>
          <p:cNvCxnSpPr>
            <a:cxnSpLocks/>
          </p:cNvCxnSpPr>
          <p:nvPr/>
        </p:nvCxnSpPr>
        <p:spPr>
          <a:xfrm>
            <a:off x="2035791" y="6376491"/>
            <a:ext cx="648204" cy="0"/>
          </a:xfrm>
          <a:prstGeom prst="straightConnector1">
            <a:avLst/>
          </a:prstGeom>
          <a:ln w="571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7E89945D-1B04-84A2-1E32-F25E15C03580}"/>
              </a:ext>
            </a:extLst>
          </p:cNvPr>
          <p:cNvSpPr txBox="1"/>
          <p:nvPr/>
        </p:nvSpPr>
        <p:spPr bwMode="auto">
          <a:xfrm>
            <a:off x="178821" y="5644764"/>
            <a:ext cx="1909674" cy="1077218"/>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defTabSz="457200" rtl="0" eaLnBrk="0" fontAlgn="base" latinLnBrk="0" hangingPunct="0">
              <a:spcBef>
                <a:spcPct val="0"/>
              </a:spcBef>
              <a:buClrTx/>
              <a:buSzTx/>
              <a:tabLst/>
            </a:pPr>
            <a:r>
              <a:rPr kumimoji="0" lang="en-GB" sz="1400" b="1" i="1" u="none" strike="noStrike" kern="1200" cap="none" spc="0" normalizeH="0" baseline="0" noProof="0" dirty="0">
                <a:ln>
                  <a:noFill/>
                </a:ln>
                <a:solidFill>
                  <a:schemeClr val="tx2"/>
                </a:solidFill>
                <a:effectLst/>
                <a:uLnTx/>
                <a:uFillTx/>
                <a:latin typeface="Verdana"/>
                <a:ea typeface="Verdana" pitchFamily="34" charset="0"/>
                <a:cs typeface="Verdana" pitchFamily="34" charset="0"/>
              </a:rPr>
              <a:t>Intermediate Bodies. </a:t>
            </a:r>
            <a:r>
              <a:rPr lang="en-GB" sz="1400" i="1" spc="0" dirty="0">
                <a:solidFill>
                  <a:schemeClr val="tx2"/>
                </a:solidFill>
              </a:rPr>
              <a:t>The lines appear when they fill the names in the background section</a:t>
            </a:r>
            <a:endParaRPr kumimoji="0" lang="en-GB" sz="1400" i="1" u="none" strike="noStrike" kern="1200" cap="none" spc="0" normalizeH="0" baseline="0" noProof="0" dirty="0" err="1">
              <a:ln>
                <a:noFill/>
              </a:ln>
              <a:solidFill>
                <a:schemeClr val="tx2"/>
              </a:solidFill>
              <a:effectLst/>
              <a:uLnTx/>
              <a:uFillTx/>
              <a:latin typeface="Verdana"/>
              <a:ea typeface="Verdana" pitchFamily="34" charset="0"/>
              <a:cs typeface="Verdana" pitchFamily="34" charset="0"/>
            </a:endParaRPr>
          </a:p>
        </p:txBody>
      </p:sp>
      <p:sp>
        <p:nvSpPr>
          <p:cNvPr id="27" name="Right Brace 26">
            <a:extLst>
              <a:ext uri="{FF2B5EF4-FFF2-40B4-BE49-F238E27FC236}">
                <a16:creationId xmlns:a16="http://schemas.microsoft.com/office/drawing/2014/main" id="{7B97D0F5-EF0F-6C01-CA9D-A9D355A924D3}"/>
              </a:ext>
            </a:extLst>
          </p:cNvPr>
          <p:cNvSpPr/>
          <p:nvPr/>
        </p:nvSpPr>
        <p:spPr>
          <a:xfrm flipH="1">
            <a:off x="2683995" y="6010805"/>
            <a:ext cx="97308" cy="712724"/>
          </a:xfrm>
          <a:prstGeom prst="rightBrace">
            <a:avLst/>
          </a:prstGeom>
          <a:ln w="38100">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cxnSp>
        <p:nvCxnSpPr>
          <p:cNvPr id="28" name="Straight Arrow Connector 27">
            <a:extLst>
              <a:ext uri="{FF2B5EF4-FFF2-40B4-BE49-F238E27FC236}">
                <a16:creationId xmlns:a16="http://schemas.microsoft.com/office/drawing/2014/main" id="{4C992ED1-7E59-711B-5B5F-453093F0838D}"/>
              </a:ext>
            </a:extLst>
          </p:cNvPr>
          <p:cNvCxnSpPr>
            <a:cxnSpLocks/>
          </p:cNvCxnSpPr>
          <p:nvPr/>
        </p:nvCxnSpPr>
        <p:spPr>
          <a:xfrm>
            <a:off x="1973038" y="4700091"/>
            <a:ext cx="648204" cy="0"/>
          </a:xfrm>
          <a:prstGeom prst="straightConnector1">
            <a:avLst/>
          </a:prstGeom>
          <a:ln w="571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29" name="Rectangle 28">
            <a:extLst>
              <a:ext uri="{FF2B5EF4-FFF2-40B4-BE49-F238E27FC236}">
                <a16:creationId xmlns:a16="http://schemas.microsoft.com/office/drawing/2014/main" id="{ED6DC52D-C1F9-5F79-D604-8A4E03D2D35E}"/>
              </a:ext>
            </a:extLst>
          </p:cNvPr>
          <p:cNvSpPr/>
          <p:nvPr/>
        </p:nvSpPr>
        <p:spPr>
          <a:xfrm>
            <a:off x="7942729" y="5186159"/>
            <a:ext cx="2241177" cy="246453"/>
          </a:xfrm>
          <a:prstGeom prst="rect">
            <a:avLst/>
          </a:prstGeom>
          <a:noFill/>
          <a:ln w="28575">
            <a:solidFill>
              <a:schemeClr val="accent4">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cxnSp>
        <p:nvCxnSpPr>
          <p:cNvPr id="30" name="Straight Arrow Connector 29">
            <a:extLst>
              <a:ext uri="{FF2B5EF4-FFF2-40B4-BE49-F238E27FC236}">
                <a16:creationId xmlns:a16="http://schemas.microsoft.com/office/drawing/2014/main" id="{69181112-A01B-7C8A-C0B3-C832A7CE8436}"/>
              </a:ext>
            </a:extLst>
          </p:cNvPr>
          <p:cNvCxnSpPr>
            <a:cxnSpLocks/>
          </p:cNvCxnSpPr>
          <p:nvPr/>
        </p:nvCxnSpPr>
        <p:spPr>
          <a:xfrm flipH="1">
            <a:off x="9390707" y="3358159"/>
            <a:ext cx="564776" cy="1883662"/>
          </a:xfrm>
          <a:prstGeom prst="straightConnector1">
            <a:avLst/>
          </a:prstGeom>
          <a:ln w="57150">
            <a:solidFill>
              <a:schemeClr val="accent4">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640B6CC6-9FC5-D1C9-1540-8794A616671B}"/>
              </a:ext>
            </a:extLst>
          </p:cNvPr>
          <p:cNvSpPr txBox="1"/>
          <p:nvPr/>
        </p:nvSpPr>
        <p:spPr bwMode="auto">
          <a:xfrm>
            <a:off x="6457259" y="2663412"/>
            <a:ext cx="5866895" cy="101566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defTabSz="457200" rtl="0" eaLnBrk="0" fontAlgn="base" latinLnBrk="0" hangingPunct="0">
              <a:spcBef>
                <a:spcPct val="0"/>
              </a:spcBef>
              <a:buClrTx/>
              <a:buSzTx/>
              <a:tabLst/>
            </a:pPr>
            <a:r>
              <a:rPr lang="en-GB" sz="1400" b="1" i="1" spc="0" dirty="0">
                <a:solidFill>
                  <a:schemeClr val="accent4"/>
                </a:solidFill>
              </a:rPr>
              <a:t>Drop-down list: please select if information about Intermediate Bodies is entered for all IBs at once, or individually. </a:t>
            </a:r>
            <a:r>
              <a:rPr lang="en-GB" sz="1400" i="1" spc="0" dirty="0">
                <a:solidFill>
                  <a:schemeClr val="accent4"/>
                </a:solidFill>
              </a:rPr>
              <a:t>The right lines to be filled will appear accordingly</a:t>
            </a:r>
          </a:p>
          <a:p>
            <a:pPr marR="0" defTabSz="457200" rtl="0" eaLnBrk="0" fontAlgn="base" latinLnBrk="0" hangingPunct="0">
              <a:spcBef>
                <a:spcPct val="0"/>
              </a:spcBef>
              <a:buClrTx/>
              <a:buSzTx/>
              <a:buNone/>
              <a:tabLst/>
            </a:pPr>
            <a:r>
              <a:rPr kumimoji="0" lang="en-GB" sz="1400" b="1" i="1" u="none" strike="noStrike" kern="1200" cap="none" spc="0" normalizeH="0" baseline="0" noProof="0" dirty="0">
                <a:ln>
                  <a:noFill/>
                </a:ln>
                <a:solidFill>
                  <a:schemeClr val="accent4"/>
                </a:solidFill>
                <a:effectLst/>
                <a:uLnTx/>
                <a:uFillTx/>
                <a:latin typeface="Verdana"/>
                <a:ea typeface="Verdana" pitchFamily="34" charset="0"/>
                <a:cs typeface="Verdana" pitchFamily="34" charset="0"/>
              </a:rPr>
              <a:t>.</a:t>
            </a:r>
          </a:p>
        </p:txBody>
      </p:sp>
      <p:sp>
        <p:nvSpPr>
          <p:cNvPr id="2" name="Action Button: Go to Beginning 1">
            <a:hlinkClick r:id="rId6" action="ppaction://hlinksldjump" highlightClick="1"/>
            <a:extLst>
              <a:ext uri="{FF2B5EF4-FFF2-40B4-BE49-F238E27FC236}">
                <a16:creationId xmlns:a16="http://schemas.microsoft.com/office/drawing/2014/main" id="{FDD49FB1-A942-A19F-063D-A978AAE55CBE}"/>
              </a:ext>
            </a:extLst>
          </p:cNvPr>
          <p:cNvSpPr/>
          <p:nvPr/>
        </p:nvSpPr>
        <p:spPr>
          <a:xfrm>
            <a:off x="11215991" y="6352162"/>
            <a:ext cx="778213" cy="398834"/>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BE" sz="2000" err="1"/>
          </a:p>
        </p:txBody>
      </p:sp>
      <p:sp>
        <p:nvSpPr>
          <p:cNvPr id="3" name="TextBox 2">
            <a:extLst>
              <a:ext uri="{FF2B5EF4-FFF2-40B4-BE49-F238E27FC236}">
                <a16:creationId xmlns:a16="http://schemas.microsoft.com/office/drawing/2014/main" id="{BC3E3716-35E7-5385-EDFD-EAA06DF11FA5}"/>
              </a:ext>
            </a:extLst>
          </p:cNvPr>
          <p:cNvSpPr txBox="1"/>
          <p:nvPr/>
        </p:nvSpPr>
        <p:spPr bwMode="auto">
          <a:xfrm>
            <a:off x="10437778" y="6397690"/>
            <a:ext cx="778213" cy="3077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fr-FR" sz="1000" b="0" i="1" u="none" strike="noStrike" kern="1200" cap="none" spc="0" normalizeH="0" baseline="0" noProof="0">
                <a:ln>
                  <a:noFill/>
                </a:ln>
                <a:solidFill>
                  <a:schemeClr val="tx2"/>
                </a:solidFill>
                <a:effectLst/>
                <a:uLnTx/>
                <a:uFillTx/>
                <a:latin typeface="Verdana"/>
                <a:ea typeface="Verdana" pitchFamily="34" charset="0"/>
                <a:cs typeface="Verdana" pitchFamily="34" charset="0"/>
              </a:rPr>
              <a:t>Go to table of content</a:t>
            </a:r>
            <a:endParaRPr kumimoji="0" lang="nl-BE" sz="1000" b="0" i="1" u="none" strike="noStrike" kern="1200" cap="none" spc="0" normalizeH="0" baseline="0" noProof="0" err="1">
              <a:ln>
                <a:noFill/>
              </a:ln>
              <a:solidFill>
                <a:schemeClr val="tx2"/>
              </a:solidFill>
              <a:effectLst/>
              <a:uLnTx/>
              <a:uFillTx/>
              <a:latin typeface="Verdana"/>
              <a:ea typeface="Verdana" pitchFamily="34" charset="0"/>
              <a:cs typeface="Verdana" pitchFamily="34" charset="0"/>
            </a:endParaRPr>
          </a:p>
        </p:txBody>
      </p:sp>
    </p:spTree>
    <p:extLst>
      <p:ext uri="{BB962C8B-B14F-4D97-AF65-F5344CB8AC3E}">
        <p14:creationId xmlns:p14="http://schemas.microsoft.com/office/powerpoint/2010/main" val="25178955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2767DA1-8B40-0CFA-BF01-E288E55F3493}"/>
              </a:ext>
            </a:extLst>
          </p:cNvPr>
          <p:cNvSpPr/>
          <p:nvPr/>
        </p:nvSpPr>
        <p:spPr>
          <a:xfrm>
            <a:off x="0" y="0"/>
            <a:ext cx="12190413" cy="1066800"/>
          </a:xfrm>
          <a:prstGeom prst="rect">
            <a:avLst/>
          </a:prstGeom>
          <a:solidFill>
            <a:schemeClr val="accent1">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96000" lvl="2" indent="0">
              <a:buNone/>
            </a:pPr>
            <a:r>
              <a:rPr lang="en-GB" sz="2600" b="1" dirty="0">
                <a:latin typeface="Gotham Rounded Light" pitchFamily="50" charset="0"/>
              </a:rPr>
              <a:t>Reporting Eligible Budgets and FTEs per Task Area</a:t>
            </a:r>
          </a:p>
        </p:txBody>
      </p:sp>
      <p:pic>
        <p:nvPicPr>
          <p:cNvPr id="5" name="Picture 4">
            <a:extLst>
              <a:ext uri="{FF2B5EF4-FFF2-40B4-BE49-F238E27FC236}">
                <a16:creationId xmlns:a16="http://schemas.microsoft.com/office/drawing/2014/main" id="{D37646C1-D7CD-07BD-6994-A652139A8D25}"/>
              </a:ext>
            </a:extLst>
          </p:cNvPr>
          <p:cNvPicPr>
            <a:picLocks noChangeAspect="1"/>
          </p:cNvPicPr>
          <p:nvPr/>
        </p:nvPicPr>
        <p:blipFill>
          <a:blip r:embed="rId3"/>
          <a:stretch>
            <a:fillRect/>
          </a:stretch>
        </p:blipFill>
        <p:spPr>
          <a:xfrm>
            <a:off x="312971" y="1783649"/>
            <a:ext cx="5714032" cy="1380891"/>
          </a:xfrm>
          <a:prstGeom prst="rect">
            <a:avLst/>
          </a:prstGeom>
        </p:spPr>
      </p:pic>
      <p:pic>
        <p:nvPicPr>
          <p:cNvPr id="13" name="Picture 12">
            <a:extLst>
              <a:ext uri="{FF2B5EF4-FFF2-40B4-BE49-F238E27FC236}">
                <a16:creationId xmlns:a16="http://schemas.microsoft.com/office/drawing/2014/main" id="{E40E7D60-AF86-457D-D818-2AFC7D8C6106}"/>
              </a:ext>
            </a:extLst>
          </p:cNvPr>
          <p:cNvPicPr>
            <a:picLocks noChangeAspect="1"/>
          </p:cNvPicPr>
          <p:nvPr/>
        </p:nvPicPr>
        <p:blipFill>
          <a:blip r:embed="rId4"/>
          <a:stretch>
            <a:fillRect/>
          </a:stretch>
        </p:blipFill>
        <p:spPr>
          <a:xfrm>
            <a:off x="312971" y="1503884"/>
            <a:ext cx="2552700" cy="361950"/>
          </a:xfrm>
          <a:prstGeom prst="rect">
            <a:avLst/>
          </a:prstGeom>
        </p:spPr>
      </p:pic>
      <p:pic>
        <p:nvPicPr>
          <p:cNvPr id="6" name="Picture 5">
            <a:extLst>
              <a:ext uri="{FF2B5EF4-FFF2-40B4-BE49-F238E27FC236}">
                <a16:creationId xmlns:a16="http://schemas.microsoft.com/office/drawing/2014/main" id="{AF4687D3-954E-1C6B-61BB-15C14009699F}"/>
              </a:ext>
            </a:extLst>
          </p:cNvPr>
          <p:cNvPicPr>
            <a:picLocks noChangeAspect="1"/>
          </p:cNvPicPr>
          <p:nvPr/>
        </p:nvPicPr>
        <p:blipFill>
          <a:blip r:embed="rId5"/>
          <a:stretch>
            <a:fillRect/>
          </a:stretch>
        </p:blipFill>
        <p:spPr>
          <a:xfrm>
            <a:off x="369724" y="3255563"/>
            <a:ext cx="2720508" cy="1486766"/>
          </a:xfrm>
          <a:prstGeom prst="rect">
            <a:avLst/>
          </a:prstGeom>
        </p:spPr>
      </p:pic>
      <p:pic>
        <p:nvPicPr>
          <p:cNvPr id="10" name="Picture 9">
            <a:extLst>
              <a:ext uri="{FF2B5EF4-FFF2-40B4-BE49-F238E27FC236}">
                <a16:creationId xmlns:a16="http://schemas.microsoft.com/office/drawing/2014/main" id="{6ED3F3EC-5005-5DF6-1841-A1BB4E307CA1}"/>
              </a:ext>
            </a:extLst>
          </p:cNvPr>
          <p:cNvPicPr>
            <a:picLocks noChangeAspect="1"/>
          </p:cNvPicPr>
          <p:nvPr/>
        </p:nvPicPr>
        <p:blipFill>
          <a:blip r:embed="rId6"/>
          <a:stretch>
            <a:fillRect/>
          </a:stretch>
        </p:blipFill>
        <p:spPr>
          <a:xfrm>
            <a:off x="1954066" y="5240443"/>
            <a:ext cx="2815397" cy="1115535"/>
          </a:xfrm>
          <a:prstGeom prst="rect">
            <a:avLst/>
          </a:prstGeom>
          <a:ln w="38100">
            <a:solidFill>
              <a:schemeClr val="accent4">
                <a:lumMod val="75000"/>
              </a:schemeClr>
            </a:solidFill>
          </a:ln>
        </p:spPr>
      </p:pic>
      <p:sp>
        <p:nvSpPr>
          <p:cNvPr id="11" name="Rectangle 10">
            <a:extLst>
              <a:ext uri="{FF2B5EF4-FFF2-40B4-BE49-F238E27FC236}">
                <a16:creationId xmlns:a16="http://schemas.microsoft.com/office/drawing/2014/main" id="{A8D79614-684D-3EEC-97AB-0E1F3EF67DE5}"/>
              </a:ext>
            </a:extLst>
          </p:cNvPr>
          <p:cNvSpPr/>
          <p:nvPr/>
        </p:nvSpPr>
        <p:spPr>
          <a:xfrm>
            <a:off x="2662518" y="4598895"/>
            <a:ext cx="502024" cy="179294"/>
          </a:xfrm>
          <a:prstGeom prst="rect">
            <a:avLst/>
          </a:prstGeom>
          <a:noFill/>
          <a:ln w="38100">
            <a:solidFill>
              <a:schemeClr val="accent4">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cxnSp>
        <p:nvCxnSpPr>
          <p:cNvPr id="12" name="Straight Arrow Connector 11">
            <a:extLst>
              <a:ext uri="{FF2B5EF4-FFF2-40B4-BE49-F238E27FC236}">
                <a16:creationId xmlns:a16="http://schemas.microsoft.com/office/drawing/2014/main" id="{84C083A4-C179-F497-0383-CF053191F29B}"/>
              </a:ext>
            </a:extLst>
          </p:cNvPr>
          <p:cNvCxnSpPr>
            <a:cxnSpLocks/>
          </p:cNvCxnSpPr>
          <p:nvPr/>
        </p:nvCxnSpPr>
        <p:spPr>
          <a:xfrm>
            <a:off x="2877672" y="4778189"/>
            <a:ext cx="0" cy="328881"/>
          </a:xfrm>
          <a:prstGeom prst="straightConnector1">
            <a:avLst/>
          </a:prstGeom>
          <a:ln w="57150">
            <a:solidFill>
              <a:schemeClr val="accent4">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F059A3A7-8711-A07E-4147-A9B86EFAB48C}"/>
              </a:ext>
            </a:extLst>
          </p:cNvPr>
          <p:cNvSpPr txBox="1"/>
          <p:nvPr/>
        </p:nvSpPr>
        <p:spPr bwMode="auto">
          <a:xfrm>
            <a:off x="659579" y="5660739"/>
            <a:ext cx="929742" cy="276999"/>
          </a:xfrm>
          <a:prstGeom prst="rect">
            <a:avLst/>
          </a:prstGeom>
          <a:noFill/>
          <a:ln w="9525">
            <a:noFill/>
            <a:miter lim="800000"/>
            <a:headEnd/>
            <a:tailEnd/>
          </a:ln>
          <a:effectLst/>
        </p:spPr>
        <p:txBody>
          <a:bodyPr vert="horz" wrap="non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800" b="1" i="1" u="none" strike="noStrike" kern="1200" cap="none" spc="0" normalizeH="0" baseline="0" noProof="0" dirty="0">
                <a:ln>
                  <a:noFill/>
                </a:ln>
                <a:solidFill>
                  <a:schemeClr val="accent4"/>
                </a:solidFill>
                <a:effectLst/>
                <a:uLnTx/>
                <a:uFillTx/>
                <a:latin typeface="Verdana"/>
                <a:ea typeface="Verdana" pitchFamily="34" charset="0"/>
                <a:cs typeface="Verdana" pitchFamily="34" charset="0"/>
              </a:rPr>
              <a:t>TOTAL:</a:t>
            </a:r>
          </a:p>
        </p:txBody>
      </p:sp>
      <p:sp>
        <p:nvSpPr>
          <p:cNvPr id="18" name="TextBox 17">
            <a:extLst>
              <a:ext uri="{FF2B5EF4-FFF2-40B4-BE49-F238E27FC236}">
                <a16:creationId xmlns:a16="http://schemas.microsoft.com/office/drawing/2014/main" id="{1FCE1C43-44A0-7EB5-4AA6-112A5B18DB65}"/>
              </a:ext>
            </a:extLst>
          </p:cNvPr>
          <p:cNvSpPr txBox="1"/>
          <p:nvPr/>
        </p:nvSpPr>
        <p:spPr bwMode="auto">
          <a:xfrm>
            <a:off x="913213" y="6541233"/>
            <a:ext cx="3398054" cy="276999"/>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800" b="1" i="1" u="none" strike="noStrike" kern="1200" cap="none" spc="0" normalizeH="0" baseline="0" noProof="0" dirty="0">
                <a:ln>
                  <a:noFill/>
                </a:ln>
                <a:solidFill>
                  <a:schemeClr val="accent4"/>
                </a:solidFill>
                <a:effectLst/>
                <a:uLnTx/>
                <a:uFillTx/>
                <a:latin typeface="Verdana"/>
                <a:ea typeface="Verdana" pitchFamily="34" charset="0"/>
                <a:cs typeface="Verdana" pitchFamily="34" charset="0"/>
              </a:rPr>
              <a:t>Eligible Budget        </a:t>
            </a:r>
            <a:r>
              <a:rPr kumimoji="0" lang="en-GB" sz="1800" i="1" u="none" strike="noStrike" kern="1200" cap="none" spc="0" normalizeH="0" baseline="0" noProof="0" dirty="0">
                <a:ln>
                  <a:noFill/>
                </a:ln>
                <a:solidFill>
                  <a:schemeClr val="accent4"/>
                </a:solidFill>
                <a:effectLst/>
                <a:uLnTx/>
                <a:uFillTx/>
                <a:latin typeface="Verdana"/>
                <a:ea typeface="Verdana" pitchFamily="34" charset="0"/>
                <a:cs typeface="Verdana" pitchFamily="34" charset="0"/>
              </a:rPr>
              <a:t>and</a:t>
            </a:r>
          </a:p>
        </p:txBody>
      </p:sp>
      <p:sp>
        <p:nvSpPr>
          <p:cNvPr id="19" name="TextBox 18">
            <a:extLst>
              <a:ext uri="{FF2B5EF4-FFF2-40B4-BE49-F238E27FC236}">
                <a16:creationId xmlns:a16="http://schemas.microsoft.com/office/drawing/2014/main" id="{D8722913-AD59-C165-151B-D0F19E31A785}"/>
              </a:ext>
            </a:extLst>
          </p:cNvPr>
          <p:cNvSpPr txBox="1"/>
          <p:nvPr/>
        </p:nvSpPr>
        <p:spPr bwMode="auto">
          <a:xfrm>
            <a:off x="4311267" y="6541232"/>
            <a:ext cx="3801792" cy="276999"/>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800" b="1" i="1" u="none" strike="noStrike" kern="1200" cap="none" spc="0" normalizeH="0" baseline="0" noProof="0" dirty="0">
                <a:ln>
                  <a:noFill/>
                </a:ln>
                <a:solidFill>
                  <a:schemeClr val="accent4"/>
                </a:solidFill>
                <a:effectLst/>
                <a:uLnTx/>
                <a:uFillTx/>
                <a:latin typeface="Verdana"/>
                <a:ea typeface="Verdana" pitchFamily="34" charset="0"/>
                <a:cs typeface="Verdana" pitchFamily="34" charset="0"/>
              </a:rPr>
              <a:t>FTEs </a:t>
            </a:r>
            <a:r>
              <a:rPr kumimoji="0" lang="en-GB" sz="1800" i="1" u="none" strike="noStrike" kern="1200" cap="none" spc="0" normalizeH="0" baseline="0" noProof="0" dirty="0">
                <a:ln>
                  <a:noFill/>
                </a:ln>
                <a:solidFill>
                  <a:schemeClr val="accent4"/>
                </a:solidFill>
                <a:effectLst/>
                <a:uLnTx/>
                <a:uFillTx/>
                <a:latin typeface="Verdana"/>
                <a:ea typeface="Verdana" pitchFamily="34" charset="0"/>
                <a:cs typeface="Verdana" pitchFamily="34" charset="0"/>
              </a:rPr>
              <a:t> for this task area</a:t>
            </a:r>
            <a:endParaRPr kumimoji="0" lang="en-GB" sz="1800" b="1" i="1" u="none" strike="noStrike" kern="1200" cap="none" spc="0" normalizeH="0" baseline="0" noProof="0" dirty="0">
              <a:ln>
                <a:noFill/>
              </a:ln>
              <a:solidFill>
                <a:schemeClr val="accent4"/>
              </a:solidFill>
              <a:effectLst/>
              <a:uLnTx/>
              <a:uFillTx/>
              <a:latin typeface="Verdana"/>
              <a:ea typeface="Verdana" pitchFamily="34" charset="0"/>
              <a:cs typeface="Verdana" pitchFamily="34" charset="0"/>
            </a:endParaRPr>
          </a:p>
        </p:txBody>
      </p:sp>
      <p:sp>
        <p:nvSpPr>
          <p:cNvPr id="23" name="TextBox 22">
            <a:extLst>
              <a:ext uri="{FF2B5EF4-FFF2-40B4-BE49-F238E27FC236}">
                <a16:creationId xmlns:a16="http://schemas.microsoft.com/office/drawing/2014/main" id="{5558C224-E7E0-7D0C-A0BA-A33C6EAF6E0B}"/>
              </a:ext>
            </a:extLst>
          </p:cNvPr>
          <p:cNvSpPr txBox="1"/>
          <p:nvPr/>
        </p:nvSpPr>
        <p:spPr bwMode="auto">
          <a:xfrm>
            <a:off x="5271487" y="3490719"/>
            <a:ext cx="6471622" cy="249299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just" defTabSz="457200" rtl="0" eaLnBrk="0" fontAlgn="base" latinLnBrk="0" hangingPunct="0">
              <a:spcBef>
                <a:spcPct val="0"/>
              </a:spcBef>
              <a:buClrTx/>
              <a:buSzTx/>
              <a:tabLst/>
            </a:pPr>
            <a:r>
              <a:rPr kumimoji="0" lang="en-GB" sz="18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Once all relevant bodies/organisations fill-in the table and indicate the eligible budget and FTEs used for each subtask, their total should be equal to the eligible budget and FTEs indicated in the background sheet for this task area. The cells will appear </a:t>
            </a:r>
            <a:r>
              <a:rPr kumimoji="0" lang="en-GB" sz="1800" b="1" i="0" u="none" strike="noStrike" kern="1200" cap="none" spc="0" normalizeH="0" baseline="0" noProof="0" dirty="0">
                <a:ln>
                  <a:noFill/>
                </a:ln>
                <a:solidFill>
                  <a:schemeClr val="accent5"/>
                </a:solidFill>
                <a:effectLst/>
                <a:uLnTx/>
                <a:uFillTx/>
                <a:latin typeface="Verdana"/>
                <a:ea typeface="Verdana" pitchFamily="34" charset="0"/>
                <a:cs typeface="Verdana" pitchFamily="34" charset="0"/>
              </a:rPr>
              <a:t>red</a:t>
            </a:r>
            <a:r>
              <a:rPr kumimoji="0" lang="en-GB" sz="18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 if this is not the case, and </a:t>
            </a:r>
            <a:r>
              <a:rPr kumimoji="0" lang="en-GB" sz="1800" b="1" i="0" u="none" strike="noStrike" kern="1200" cap="none" spc="0" normalizeH="0" baseline="0" noProof="0" dirty="0">
                <a:ln>
                  <a:noFill/>
                </a:ln>
                <a:solidFill>
                  <a:schemeClr val="accent2"/>
                </a:solidFill>
                <a:effectLst/>
                <a:uLnTx/>
                <a:uFillTx/>
                <a:latin typeface="Verdana"/>
                <a:ea typeface="Verdana" pitchFamily="34" charset="0"/>
                <a:cs typeface="Verdana" pitchFamily="34" charset="0"/>
              </a:rPr>
              <a:t>green </a:t>
            </a:r>
            <a:r>
              <a:rPr kumimoji="0" lang="en-GB" sz="18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when it matches. The table at the top of the sheet is a </a:t>
            </a:r>
            <a:r>
              <a:rPr kumimoji="0" lang="en-GB" sz="1800" b="1" i="0" u="none" strike="noStrike" kern="1200" cap="none" spc="0" normalizeH="0" baseline="0" noProof="0" dirty="0">
                <a:ln>
                  <a:noFill/>
                </a:ln>
                <a:solidFill>
                  <a:schemeClr val="accent2">
                    <a:lumMod val="60000"/>
                    <a:lumOff val="40000"/>
                  </a:schemeClr>
                </a:solidFill>
                <a:effectLst/>
                <a:uLnTx/>
                <a:uFillTx/>
                <a:latin typeface="Verdana"/>
                <a:ea typeface="Verdana" pitchFamily="34" charset="0"/>
                <a:cs typeface="Verdana" pitchFamily="34" charset="0"/>
              </a:rPr>
              <a:t>reminder</a:t>
            </a:r>
            <a:r>
              <a:rPr kumimoji="0" lang="en-GB" sz="18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 of the numbers to be reached, i.e. the eligible budget and FTEs to ‘allocate’ among the different subtasks</a:t>
            </a:r>
          </a:p>
        </p:txBody>
      </p:sp>
      <p:sp>
        <p:nvSpPr>
          <p:cNvPr id="25" name="Right Brace 24">
            <a:extLst>
              <a:ext uri="{FF2B5EF4-FFF2-40B4-BE49-F238E27FC236}">
                <a16:creationId xmlns:a16="http://schemas.microsoft.com/office/drawing/2014/main" id="{859ECCDA-F001-BFA2-2F87-A004718E693B}"/>
              </a:ext>
            </a:extLst>
          </p:cNvPr>
          <p:cNvSpPr/>
          <p:nvPr/>
        </p:nvSpPr>
        <p:spPr>
          <a:xfrm>
            <a:off x="6095206" y="1783649"/>
            <a:ext cx="220810" cy="1281416"/>
          </a:xfrm>
          <a:prstGeom prst="rightBrace">
            <a:avLst/>
          </a:prstGeom>
          <a:ln w="9525">
            <a:solidFill>
              <a:schemeClr val="accent2">
                <a:lumMod val="60000"/>
                <a:lumOff val="4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solidFill>
                <a:schemeClr val="accent2">
                  <a:lumMod val="60000"/>
                  <a:lumOff val="40000"/>
                </a:schemeClr>
              </a:solidFill>
            </a:endParaRPr>
          </a:p>
        </p:txBody>
      </p:sp>
      <p:sp>
        <p:nvSpPr>
          <p:cNvPr id="31" name="TextBox 30">
            <a:extLst>
              <a:ext uri="{FF2B5EF4-FFF2-40B4-BE49-F238E27FC236}">
                <a16:creationId xmlns:a16="http://schemas.microsoft.com/office/drawing/2014/main" id="{CE2D9A2C-14D7-2393-E852-F96DB796D07C}"/>
              </a:ext>
            </a:extLst>
          </p:cNvPr>
          <p:cNvSpPr txBox="1"/>
          <p:nvPr/>
        </p:nvSpPr>
        <p:spPr bwMode="auto">
          <a:xfrm>
            <a:off x="6384219" y="2300925"/>
            <a:ext cx="5866895"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defTabSz="457200" rtl="0" eaLnBrk="0" fontAlgn="base" latinLnBrk="0" hangingPunct="0">
              <a:spcBef>
                <a:spcPct val="0"/>
              </a:spcBef>
              <a:buClrTx/>
              <a:buSzTx/>
              <a:tabLst/>
            </a:pPr>
            <a:r>
              <a:rPr kumimoji="0" lang="en-GB" sz="1400" b="1" i="1" u="none" strike="noStrike" kern="1200" cap="none" spc="0" normalizeH="0" baseline="0" noProof="0" dirty="0">
                <a:ln>
                  <a:noFill/>
                </a:ln>
                <a:solidFill>
                  <a:schemeClr val="tx2"/>
                </a:solidFill>
                <a:effectLst/>
                <a:uLnTx/>
                <a:uFillTx/>
                <a:latin typeface="Verdana"/>
                <a:ea typeface="Verdana" pitchFamily="34" charset="0"/>
                <a:cs typeface="Verdana" pitchFamily="34" charset="0"/>
              </a:rPr>
              <a:t> </a:t>
            </a:r>
            <a:r>
              <a:rPr kumimoji="0" lang="en-GB" sz="1400" b="1" i="1" u="none" strike="noStrike" kern="1200" cap="none" spc="0" normalizeH="0" baseline="0" noProof="0" dirty="0">
                <a:ln>
                  <a:noFill/>
                </a:ln>
                <a:solidFill>
                  <a:schemeClr val="accent2">
                    <a:lumMod val="60000"/>
                    <a:lumOff val="40000"/>
                  </a:schemeClr>
                </a:solidFill>
                <a:effectLst/>
                <a:uLnTx/>
                <a:uFillTx/>
                <a:latin typeface="Verdana"/>
                <a:ea typeface="Verdana" pitchFamily="34" charset="0"/>
                <a:cs typeface="Verdana" pitchFamily="34" charset="0"/>
              </a:rPr>
              <a:t>REMINDER: these are the numbers to be reached</a:t>
            </a:r>
          </a:p>
        </p:txBody>
      </p:sp>
      <p:cxnSp>
        <p:nvCxnSpPr>
          <p:cNvPr id="32" name="Straight Arrow Connector 31">
            <a:extLst>
              <a:ext uri="{FF2B5EF4-FFF2-40B4-BE49-F238E27FC236}">
                <a16:creationId xmlns:a16="http://schemas.microsoft.com/office/drawing/2014/main" id="{C78720AA-CA68-F9BF-AA36-0072AA1C80BC}"/>
              </a:ext>
            </a:extLst>
          </p:cNvPr>
          <p:cNvCxnSpPr>
            <a:cxnSpLocks/>
          </p:cNvCxnSpPr>
          <p:nvPr/>
        </p:nvCxnSpPr>
        <p:spPr>
          <a:xfrm flipV="1">
            <a:off x="2006854" y="5879444"/>
            <a:ext cx="409568" cy="660335"/>
          </a:xfrm>
          <a:prstGeom prst="straightConnector1">
            <a:avLst/>
          </a:prstGeom>
          <a:ln w="57150">
            <a:solidFill>
              <a:schemeClr val="accent4">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CBDF2456-2F80-E1EA-9036-E6839EC83785}"/>
              </a:ext>
            </a:extLst>
          </p:cNvPr>
          <p:cNvCxnSpPr>
            <a:cxnSpLocks/>
          </p:cNvCxnSpPr>
          <p:nvPr/>
        </p:nvCxnSpPr>
        <p:spPr>
          <a:xfrm flipH="1" flipV="1">
            <a:off x="4085232" y="5937738"/>
            <a:ext cx="438135" cy="602041"/>
          </a:xfrm>
          <a:prstGeom prst="straightConnector1">
            <a:avLst/>
          </a:prstGeom>
          <a:ln w="57150">
            <a:solidFill>
              <a:schemeClr val="accent4">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8" name="Straight Arrow Connector 37">
            <a:extLst>
              <a:ext uri="{FF2B5EF4-FFF2-40B4-BE49-F238E27FC236}">
                <a16:creationId xmlns:a16="http://schemas.microsoft.com/office/drawing/2014/main" id="{C1C51EA1-C8BD-E043-BB36-4B7A029B9803}"/>
              </a:ext>
            </a:extLst>
          </p:cNvPr>
          <p:cNvCxnSpPr>
            <a:cxnSpLocks/>
          </p:cNvCxnSpPr>
          <p:nvPr/>
        </p:nvCxnSpPr>
        <p:spPr>
          <a:xfrm flipH="1">
            <a:off x="2865671" y="2260693"/>
            <a:ext cx="1830154" cy="3418273"/>
          </a:xfrm>
          <a:prstGeom prst="straightConnector1">
            <a:avLst/>
          </a:prstGeom>
          <a:ln w="57150">
            <a:solidFill>
              <a:schemeClr val="accent2">
                <a:lumMod val="60000"/>
                <a:lumOff val="4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2" name="Straight Arrow Connector 41">
            <a:extLst>
              <a:ext uri="{FF2B5EF4-FFF2-40B4-BE49-F238E27FC236}">
                <a16:creationId xmlns:a16="http://schemas.microsoft.com/office/drawing/2014/main" id="{6543774D-E2B4-4E1A-6181-D977EE178C11}"/>
              </a:ext>
            </a:extLst>
          </p:cNvPr>
          <p:cNvCxnSpPr>
            <a:cxnSpLocks/>
          </p:cNvCxnSpPr>
          <p:nvPr/>
        </p:nvCxnSpPr>
        <p:spPr>
          <a:xfrm flipH="1">
            <a:off x="4085232" y="2821991"/>
            <a:ext cx="610593" cy="2723602"/>
          </a:xfrm>
          <a:prstGeom prst="straightConnector1">
            <a:avLst/>
          </a:prstGeom>
          <a:ln w="57150">
            <a:solidFill>
              <a:schemeClr val="accent2">
                <a:lumMod val="60000"/>
                <a:lumOff val="4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44" name="Rectangle 43">
            <a:extLst>
              <a:ext uri="{FF2B5EF4-FFF2-40B4-BE49-F238E27FC236}">
                <a16:creationId xmlns:a16="http://schemas.microsoft.com/office/drawing/2014/main" id="{1FA6E9EC-CE0A-C992-AEFD-685150E2C436}"/>
              </a:ext>
            </a:extLst>
          </p:cNvPr>
          <p:cNvSpPr/>
          <p:nvPr/>
        </p:nvSpPr>
        <p:spPr>
          <a:xfrm>
            <a:off x="3329899" y="3810792"/>
            <a:ext cx="1365926" cy="632700"/>
          </a:xfrm>
          <a:prstGeom prst="rect">
            <a:avLst/>
          </a:prstGeom>
          <a:solidFill>
            <a:schemeClr val="bg1"/>
          </a:solidFill>
          <a:ln>
            <a:solidFill>
              <a:schemeClr val="accent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solidFill>
                  <a:schemeClr val="accent2"/>
                </a:solidFill>
              </a:rPr>
              <a:t>Should be equal!</a:t>
            </a:r>
          </a:p>
        </p:txBody>
      </p:sp>
      <p:sp>
        <p:nvSpPr>
          <p:cNvPr id="2" name="Action Button: Go to Beginning 1">
            <a:hlinkClick r:id="rId7" action="ppaction://hlinksldjump" highlightClick="1"/>
            <a:extLst>
              <a:ext uri="{FF2B5EF4-FFF2-40B4-BE49-F238E27FC236}">
                <a16:creationId xmlns:a16="http://schemas.microsoft.com/office/drawing/2014/main" id="{0D91AC5E-8DEC-E919-7A85-9693E21D8B96}"/>
              </a:ext>
            </a:extLst>
          </p:cNvPr>
          <p:cNvSpPr/>
          <p:nvPr/>
        </p:nvSpPr>
        <p:spPr>
          <a:xfrm>
            <a:off x="11215991" y="6352162"/>
            <a:ext cx="778213" cy="398834"/>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BE" sz="2000" err="1"/>
          </a:p>
        </p:txBody>
      </p:sp>
      <p:sp>
        <p:nvSpPr>
          <p:cNvPr id="3" name="TextBox 2">
            <a:extLst>
              <a:ext uri="{FF2B5EF4-FFF2-40B4-BE49-F238E27FC236}">
                <a16:creationId xmlns:a16="http://schemas.microsoft.com/office/drawing/2014/main" id="{1DA3AE9C-DA37-5C1E-EF47-4E36885402DF}"/>
              </a:ext>
            </a:extLst>
          </p:cNvPr>
          <p:cNvSpPr txBox="1"/>
          <p:nvPr/>
        </p:nvSpPr>
        <p:spPr bwMode="auto">
          <a:xfrm>
            <a:off x="10437778" y="6397690"/>
            <a:ext cx="778213" cy="3077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fr-FR" sz="1000" b="0" i="1" u="none" strike="noStrike" kern="1200" cap="none" spc="0" normalizeH="0" baseline="0" noProof="0">
                <a:ln>
                  <a:noFill/>
                </a:ln>
                <a:solidFill>
                  <a:schemeClr val="tx2"/>
                </a:solidFill>
                <a:effectLst/>
                <a:uLnTx/>
                <a:uFillTx/>
                <a:latin typeface="Verdana"/>
                <a:ea typeface="Verdana" pitchFamily="34" charset="0"/>
                <a:cs typeface="Verdana" pitchFamily="34" charset="0"/>
              </a:rPr>
              <a:t>Go to table of content</a:t>
            </a:r>
            <a:endParaRPr kumimoji="0" lang="nl-BE" sz="1000" b="0" i="1" u="none" strike="noStrike" kern="1200" cap="none" spc="0" normalizeH="0" baseline="0" noProof="0" err="1">
              <a:ln>
                <a:noFill/>
              </a:ln>
              <a:solidFill>
                <a:schemeClr val="tx2"/>
              </a:solidFill>
              <a:effectLst/>
              <a:uLnTx/>
              <a:uFillTx/>
              <a:latin typeface="Verdana"/>
              <a:ea typeface="Verdana" pitchFamily="34" charset="0"/>
              <a:cs typeface="Verdana" pitchFamily="34" charset="0"/>
            </a:endParaRPr>
          </a:p>
        </p:txBody>
      </p:sp>
    </p:spTree>
    <p:extLst>
      <p:ext uri="{BB962C8B-B14F-4D97-AF65-F5344CB8AC3E}">
        <p14:creationId xmlns:p14="http://schemas.microsoft.com/office/powerpoint/2010/main" val="6726215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C700F7-048F-C290-C499-D341B6D19FAD}"/>
              </a:ext>
            </a:extLst>
          </p:cNvPr>
          <p:cNvSpPr>
            <a:spLocks noGrp="1"/>
          </p:cNvSpPr>
          <p:nvPr>
            <p:ph type="ctrTitle"/>
          </p:nvPr>
        </p:nvSpPr>
        <p:spPr>
          <a:xfrm>
            <a:off x="1349825" y="1122623"/>
            <a:ext cx="9493666" cy="1985091"/>
          </a:xfrm>
        </p:spPr>
        <p:txBody>
          <a:bodyPr/>
          <a:lstStyle/>
          <a:p>
            <a:r>
              <a:rPr lang="en-GB" dirty="0"/>
              <a:t>Programme Authorities</a:t>
            </a:r>
          </a:p>
        </p:txBody>
      </p:sp>
      <p:sp>
        <p:nvSpPr>
          <p:cNvPr id="4" name="Subtitle 3">
            <a:extLst>
              <a:ext uri="{FF2B5EF4-FFF2-40B4-BE49-F238E27FC236}">
                <a16:creationId xmlns:a16="http://schemas.microsoft.com/office/drawing/2014/main" id="{CBEA0F10-D352-28DB-D932-9834A086396B}"/>
              </a:ext>
            </a:extLst>
          </p:cNvPr>
          <p:cNvSpPr>
            <a:spLocks noGrp="1"/>
          </p:cNvSpPr>
          <p:nvPr>
            <p:ph type="subTitle" idx="1"/>
          </p:nvPr>
        </p:nvSpPr>
        <p:spPr/>
        <p:txBody>
          <a:bodyPr/>
          <a:lstStyle/>
          <a:p>
            <a:r>
              <a:rPr lang="en-GB" dirty="0"/>
              <a:t>Smart Survey</a:t>
            </a:r>
          </a:p>
        </p:txBody>
      </p:sp>
      <p:sp>
        <p:nvSpPr>
          <p:cNvPr id="2" name="Action Button: Go to Beginning 1">
            <a:hlinkClick r:id="rId2" action="ppaction://hlinksldjump" highlightClick="1"/>
            <a:extLst>
              <a:ext uri="{FF2B5EF4-FFF2-40B4-BE49-F238E27FC236}">
                <a16:creationId xmlns:a16="http://schemas.microsoft.com/office/drawing/2014/main" id="{49625122-8A65-F23F-B156-B8A99868C79D}"/>
              </a:ext>
            </a:extLst>
          </p:cNvPr>
          <p:cNvSpPr/>
          <p:nvPr/>
        </p:nvSpPr>
        <p:spPr>
          <a:xfrm>
            <a:off x="11215991" y="6352162"/>
            <a:ext cx="778213" cy="398834"/>
          </a:xfrm>
          <a:prstGeom prst="actionButtonBeginning">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BE" sz="2000" err="1"/>
          </a:p>
        </p:txBody>
      </p:sp>
      <p:sp>
        <p:nvSpPr>
          <p:cNvPr id="5" name="TextBox 4">
            <a:extLst>
              <a:ext uri="{FF2B5EF4-FFF2-40B4-BE49-F238E27FC236}">
                <a16:creationId xmlns:a16="http://schemas.microsoft.com/office/drawing/2014/main" id="{C75ADDCE-3299-D99D-97E5-98DD01FEE91E}"/>
              </a:ext>
            </a:extLst>
          </p:cNvPr>
          <p:cNvSpPr txBox="1"/>
          <p:nvPr/>
        </p:nvSpPr>
        <p:spPr bwMode="auto">
          <a:xfrm>
            <a:off x="11215991" y="5930367"/>
            <a:ext cx="778213" cy="3077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fr-FR" sz="1000" b="0" i="1" u="none" strike="noStrike" kern="1200" cap="none" spc="0" normalizeH="0" baseline="0" noProof="0">
                <a:ln>
                  <a:noFill/>
                </a:ln>
                <a:solidFill>
                  <a:schemeClr val="bg2"/>
                </a:solidFill>
                <a:effectLst/>
                <a:uLnTx/>
                <a:uFillTx/>
                <a:latin typeface="Verdana"/>
                <a:ea typeface="Verdana" pitchFamily="34" charset="0"/>
                <a:cs typeface="Verdana" pitchFamily="34" charset="0"/>
              </a:rPr>
              <a:t>Go to table of content</a:t>
            </a:r>
            <a:endParaRPr kumimoji="0" lang="nl-BE" sz="1000" b="0" i="1" u="none" strike="noStrike" kern="1200" cap="none" spc="0" normalizeH="0" baseline="0" noProof="0" err="1">
              <a:ln>
                <a:noFill/>
              </a:ln>
              <a:solidFill>
                <a:schemeClr val="bg2"/>
              </a:solidFill>
              <a:effectLst/>
              <a:uLnTx/>
              <a:uFillTx/>
              <a:latin typeface="Verdana"/>
              <a:ea typeface="Verdana" pitchFamily="34" charset="0"/>
              <a:cs typeface="Verdana" pitchFamily="34" charset="0"/>
            </a:endParaRPr>
          </a:p>
        </p:txBody>
      </p:sp>
    </p:spTree>
    <p:extLst>
      <p:ext uri="{BB962C8B-B14F-4D97-AF65-F5344CB8AC3E}">
        <p14:creationId xmlns:p14="http://schemas.microsoft.com/office/powerpoint/2010/main" val="29497831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2767DA1-8B40-0CFA-BF01-E288E55F3493}"/>
              </a:ext>
            </a:extLst>
          </p:cNvPr>
          <p:cNvSpPr/>
          <p:nvPr/>
        </p:nvSpPr>
        <p:spPr>
          <a:xfrm>
            <a:off x="0" y="0"/>
            <a:ext cx="12190413" cy="1066800"/>
          </a:xfrm>
          <a:prstGeom prst="rect">
            <a:avLst/>
          </a:prstGeom>
          <a:solidFill>
            <a:schemeClr val="accent1">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96000" lvl="2" indent="0">
              <a:buNone/>
            </a:pPr>
            <a:r>
              <a:rPr lang="en-GB" sz="2600" b="1" dirty="0">
                <a:latin typeface="Gotham Rounded Light" pitchFamily="50" charset="0"/>
              </a:rPr>
              <a:t>Content</a:t>
            </a:r>
            <a:r>
              <a:rPr lang="en-GB" sz="2600" b="1">
                <a:latin typeface="Gotham Rounded Light" pitchFamily="50" charset="0"/>
              </a:rPr>
              <a:t>: the different parts of the questionnaire</a:t>
            </a:r>
            <a:endParaRPr lang="en-GB" sz="2600" b="1" dirty="0">
              <a:latin typeface="Gotham Rounded Light" pitchFamily="50" charset="0"/>
            </a:endParaRPr>
          </a:p>
        </p:txBody>
      </p:sp>
      <p:sp>
        <p:nvSpPr>
          <p:cNvPr id="2" name="Rectangle 1">
            <a:extLst>
              <a:ext uri="{FF2B5EF4-FFF2-40B4-BE49-F238E27FC236}">
                <a16:creationId xmlns:a16="http://schemas.microsoft.com/office/drawing/2014/main" id="{A1052D8A-4BC5-7DB1-07E2-400A937F54E0}"/>
              </a:ext>
            </a:extLst>
          </p:cNvPr>
          <p:cNvSpPr/>
          <p:nvPr/>
        </p:nvSpPr>
        <p:spPr>
          <a:xfrm>
            <a:off x="974070" y="3074447"/>
            <a:ext cx="3751350" cy="374239"/>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t>Preparation</a:t>
            </a:r>
          </a:p>
        </p:txBody>
      </p:sp>
      <p:sp>
        <p:nvSpPr>
          <p:cNvPr id="3" name="Rectangle 2">
            <a:extLst>
              <a:ext uri="{FF2B5EF4-FFF2-40B4-BE49-F238E27FC236}">
                <a16:creationId xmlns:a16="http://schemas.microsoft.com/office/drawing/2014/main" id="{A3175464-5C38-B6A6-7D94-D86D2E5E2D74}"/>
              </a:ext>
            </a:extLst>
          </p:cNvPr>
          <p:cNvSpPr/>
          <p:nvPr/>
        </p:nvSpPr>
        <p:spPr>
          <a:xfrm>
            <a:off x="974070" y="3580935"/>
            <a:ext cx="3751350" cy="374239"/>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t>General Management</a:t>
            </a:r>
          </a:p>
        </p:txBody>
      </p:sp>
      <p:sp>
        <p:nvSpPr>
          <p:cNvPr id="5" name="Rectangle 4">
            <a:extLst>
              <a:ext uri="{FF2B5EF4-FFF2-40B4-BE49-F238E27FC236}">
                <a16:creationId xmlns:a16="http://schemas.microsoft.com/office/drawing/2014/main" id="{72EE8E1F-D0C6-DCFC-3C7A-DA7F0C7DD0CC}"/>
              </a:ext>
            </a:extLst>
          </p:cNvPr>
          <p:cNvSpPr/>
          <p:nvPr/>
        </p:nvSpPr>
        <p:spPr>
          <a:xfrm>
            <a:off x="974070" y="4103292"/>
            <a:ext cx="3751350" cy="374239"/>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t>Financial Management</a:t>
            </a:r>
          </a:p>
        </p:txBody>
      </p:sp>
      <p:sp>
        <p:nvSpPr>
          <p:cNvPr id="6" name="Rectangle 5">
            <a:extLst>
              <a:ext uri="{FF2B5EF4-FFF2-40B4-BE49-F238E27FC236}">
                <a16:creationId xmlns:a16="http://schemas.microsoft.com/office/drawing/2014/main" id="{C2D300CC-8B5F-D75A-DD03-317EF3186544}"/>
              </a:ext>
            </a:extLst>
          </p:cNvPr>
          <p:cNvSpPr/>
          <p:nvPr/>
        </p:nvSpPr>
        <p:spPr>
          <a:xfrm>
            <a:off x="974070" y="4622511"/>
            <a:ext cx="3751350" cy="374239"/>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t>Operations</a:t>
            </a:r>
          </a:p>
        </p:txBody>
      </p:sp>
      <p:sp>
        <p:nvSpPr>
          <p:cNvPr id="8" name="Rectangle 7">
            <a:extLst>
              <a:ext uri="{FF2B5EF4-FFF2-40B4-BE49-F238E27FC236}">
                <a16:creationId xmlns:a16="http://schemas.microsoft.com/office/drawing/2014/main" id="{D8C27558-040B-23C0-48EE-6BD36103AC07}"/>
              </a:ext>
            </a:extLst>
          </p:cNvPr>
          <p:cNvSpPr/>
          <p:nvPr/>
        </p:nvSpPr>
        <p:spPr>
          <a:xfrm>
            <a:off x="974070" y="5141730"/>
            <a:ext cx="3751350" cy="374239"/>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t>Reporting, monitoring and evaluation</a:t>
            </a:r>
          </a:p>
        </p:txBody>
      </p:sp>
      <p:sp>
        <p:nvSpPr>
          <p:cNvPr id="9" name="Rectangle 8">
            <a:extLst>
              <a:ext uri="{FF2B5EF4-FFF2-40B4-BE49-F238E27FC236}">
                <a16:creationId xmlns:a16="http://schemas.microsoft.com/office/drawing/2014/main" id="{979E0288-8CA8-D9E7-E8AB-DE8E85602972}"/>
              </a:ext>
            </a:extLst>
          </p:cNvPr>
          <p:cNvSpPr/>
          <p:nvPr/>
        </p:nvSpPr>
        <p:spPr>
          <a:xfrm>
            <a:off x="974070" y="5660949"/>
            <a:ext cx="3751350" cy="374239"/>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t>Audit</a:t>
            </a:r>
          </a:p>
        </p:txBody>
      </p:sp>
      <p:sp>
        <p:nvSpPr>
          <p:cNvPr id="10" name="Rectangle 9">
            <a:extLst>
              <a:ext uri="{FF2B5EF4-FFF2-40B4-BE49-F238E27FC236}">
                <a16:creationId xmlns:a16="http://schemas.microsoft.com/office/drawing/2014/main" id="{DB285270-65F5-C481-267E-0C652E76758B}"/>
              </a:ext>
            </a:extLst>
          </p:cNvPr>
          <p:cNvSpPr/>
          <p:nvPr/>
        </p:nvSpPr>
        <p:spPr>
          <a:xfrm>
            <a:off x="974070" y="1653072"/>
            <a:ext cx="3751350" cy="374239"/>
          </a:xfrm>
          <a:prstGeom prst="rect">
            <a:avLst/>
          </a:prstGeom>
          <a:solidFill>
            <a:schemeClr val="accent1">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t>Background</a:t>
            </a:r>
          </a:p>
        </p:txBody>
      </p:sp>
      <p:sp>
        <p:nvSpPr>
          <p:cNvPr id="11" name="TextBox 10">
            <a:extLst>
              <a:ext uri="{FF2B5EF4-FFF2-40B4-BE49-F238E27FC236}">
                <a16:creationId xmlns:a16="http://schemas.microsoft.com/office/drawing/2014/main" id="{9FF13F6C-25D1-2F99-39A7-24F1F562F335}"/>
              </a:ext>
            </a:extLst>
          </p:cNvPr>
          <p:cNvSpPr txBox="1"/>
          <p:nvPr/>
        </p:nvSpPr>
        <p:spPr bwMode="auto">
          <a:xfrm>
            <a:off x="197765" y="1651181"/>
            <a:ext cx="548227"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400" b="0" i="1"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Part A</a:t>
            </a:r>
          </a:p>
        </p:txBody>
      </p:sp>
      <p:sp>
        <p:nvSpPr>
          <p:cNvPr id="12" name="TextBox 11">
            <a:extLst>
              <a:ext uri="{FF2B5EF4-FFF2-40B4-BE49-F238E27FC236}">
                <a16:creationId xmlns:a16="http://schemas.microsoft.com/office/drawing/2014/main" id="{9E5A9DF0-FCF2-FD33-D79C-FE2807B9378A}"/>
              </a:ext>
            </a:extLst>
          </p:cNvPr>
          <p:cNvSpPr txBox="1"/>
          <p:nvPr/>
        </p:nvSpPr>
        <p:spPr bwMode="auto">
          <a:xfrm>
            <a:off x="210364" y="2231152"/>
            <a:ext cx="554639"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400" b="0" i="1"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Part </a:t>
            </a:r>
            <a:r>
              <a:rPr kumimoji="0" lang="en-GB" sz="1400" i="1"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B</a:t>
            </a:r>
          </a:p>
        </p:txBody>
      </p:sp>
      <p:sp>
        <p:nvSpPr>
          <p:cNvPr id="13" name="Rectangle 12">
            <a:extLst>
              <a:ext uri="{FF2B5EF4-FFF2-40B4-BE49-F238E27FC236}">
                <a16:creationId xmlns:a16="http://schemas.microsoft.com/office/drawing/2014/main" id="{16A2CF77-B57C-3914-FC20-5D25A52A735F}"/>
              </a:ext>
            </a:extLst>
          </p:cNvPr>
          <p:cNvSpPr/>
          <p:nvPr/>
        </p:nvSpPr>
        <p:spPr>
          <a:xfrm>
            <a:off x="974070" y="1653072"/>
            <a:ext cx="10580688" cy="374239"/>
          </a:xfrm>
          <a:prstGeom prst="rect">
            <a:avLst/>
          </a:prstGeom>
          <a:noFill/>
          <a:ln w="28575">
            <a:solidFill>
              <a:schemeClr val="accent1">
                <a:lumMod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b="1" dirty="0"/>
          </a:p>
        </p:txBody>
      </p:sp>
      <p:sp>
        <p:nvSpPr>
          <p:cNvPr id="14" name="Rectangle 13">
            <a:extLst>
              <a:ext uri="{FF2B5EF4-FFF2-40B4-BE49-F238E27FC236}">
                <a16:creationId xmlns:a16="http://schemas.microsoft.com/office/drawing/2014/main" id="{61A6EE50-DEDB-86B3-C0DC-8FF4BB0FF36D}"/>
              </a:ext>
            </a:extLst>
          </p:cNvPr>
          <p:cNvSpPr/>
          <p:nvPr/>
        </p:nvSpPr>
        <p:spPr>
          <a:xfrm>
            <a:off x="974070" y="4107844"/>
            <a:ext cx="10580688" cy="374239"/>
          </a:xfrm>
          <a:prstGeom prst="rect">
            <a:avLst/>
          </a:prstGeom>
          <a:noFill/>
          <a:ln w="28575">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b="1" dirty="0"/>
          </a:p>
        </p:txBody>
      </p:sp>
      <p:sp>
        <p:nvSpPr>
          <p:cNvPr id="15" name="Rectangle 14">
            <a:extLst>
              <a:ext uri="{FF2B5EF4-FFF2-40B4-BE49-F238E27FC236}">
                <a16:creationId xmlns:a16="http://schemas.microsoft.com/office/drawing/2014/main" id="{F88D42C6-FACE-4346-E0CD-085F02AD0FC9}"/>
              </a:ext>
            </a:extLst>
          </p:cNvPr>
          <p:cNvSpPr/>
          <p:nvPr/>
        </p:nvSpPr>
        <p:spPr>
          <a:xfrm>
            <a:off x="974070" y="4622511"/>
            <a:ext cx="10580688" cy="374239"/>
          </a:xfrm>
          <a:prstGeom prst="rect">
            <a:avLst/>
          </a:prstGeom>
          <a:noFill/>
          <a:ln w="28575">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b="1" dirty="0"/>
          </a:p>
        </p:txBody>
      </p:sp>
      <p:sp>
        <p:nvSpPr>
          <p:cNvPr id="16" name="Rectangle 15">
            <a:extLst>
              <a:ext uri="{FF2B5EF4-FFF2-40B4-BE49-F238E27FC236}">
                <a16:creationId xmlns:a16="http://schemas.microsoft.com/office/drawing/2014/main" id="{33C5F5CA-F7DC-68C0-6B6E-02488B640B1A}"/>
              </a:ext>
            </a:extLst>
          </p:cNvPr>
          <p:cNvSpPr/>
          <p:nvPr/>
        </p:nvSpPr>
        <p:spPr>
          <a:xfrm>
            <a:off x="974070" y="3580935"/>
            <a:ext cx="10580688" cy="374239"/>
          </a:xfrm>
          <a:prstGeom prst="rect">
            <a:avLst/>
          </a:prstGeom>
          <a:noFill/>
          <a:ln w="28575">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b="1" dirty="0"/>
          </a:p>
        </p:txBody>
      </p:sp>
      <p:sp>
        <p:nvSpPr>
          <p:cNvPr id="17" name="Rectangle 16">
            <a:extLst>
              <a:ext uri="{FF2B5EF4-FFF2-40B4-BE49-F238E27FC236}">
                <a16:creationId xmlns:a16="http://schemas.microsoft.com/office/drawing/2014/main" id="{D0CD572D-30C4-3A51-E63E-995F4754BE1D}"/>
              </a:ext>
            </a:extLst>
          </p:cNvPr>
          <p:cNvSpPr/>
          <p:nvPr/>
        </p:nvSpPr>
        <p:spPr>
          <a:xfrm>
            <a:off x="974070" y="3067877"/>
            <a:ext cx="10580688" cy="374239"/>
          </a:xfrm>
          <a:prstGeom prst="rect">
            <a:avLst/>
          </a:prstGeom>
          <a:noFill/>
          <a:ln w="28575">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b="1" dirty="0"/>
          </a:p>
        </p:txBody>
      </p:sp>
      <p:sp>
        <p:nvSpPr>
          <p:cNvPr id="18" name="Rectangle 17">
            <a:extLst>
              <a:ext uri="{FF2B5EF4-FFF2-40B4-BE49-F238E27FC236}">
                <a16:creationId xmlns:a16="http://schemas.microsoft.com/office/drawing/2014/main" id="{C177F5A8-D3A4-4E48-729C-813941450152}"/>
              </a:ext>
            </a:extLst>
          </p:cNvPr>
          <p:cNvSpPr/>
          <p:nvPr/>
        </p:nvSpPr>
        <p:spPr>
          <a:xfrm>
            <a:off x="974070" y="5136724"/>
            <a:ext cx="10580688" cy="374239"/>
          </a:xfrm>
          <a:prstGeom prst="rect">
            <a:avLst/>
          </a:prstGeom>
          <a:noFill/>
          <a:ln w="28575">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b="1" dirty="0"/>
          </a:p>
        </p:txBody>
      </p:sp>
      <p:sp>
        <p:nvSpPr>
          <p:cNvPr id="19" name="Rectangle 18">
            <a:extLst>
              <a:ext uri="{FF2B5EF4-FFF2-40B4-BE49-F238E27FC236}">
                <a16:creationId xmlns:a16="http://schemas.microsoft.com/office/drawing/2014/main" id="{3C5ACC9C-29BF-4C0D-0929-65ABC8792BE0}"/>
              </a:ext>
            </a:extLst>
          </p:cNvPr>
          <p:cNvSpPr/>
          <p:nvPr/>
        </p:nvSpPr>
        <p:spPr>
          <a:xfrm>
            <a:off x="974070" y="5653105"/>
            <a:ext cx="10580688" cy="374239"/>
          </a:xfrm>
          <a:prstGeom prst="rect">
            <a:avLst/>
          </a:prstGeom>
          <a:noFill/>
          <a:ln w="28575">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b="1" dirty="0"/>
          </a:p>
        </p:txBody>
      </p:sp>
      <p:sp>
        <p:nvSpPr>
          <p:cNvPr id="20" name="TextBox 19">
            <a:extLst>
              <a:ext uri="{FF2B5EF4-FFF2-40B4-BE49-F238E27FC236}">
                <a16:creationId xmlns:a16="http://schemas.microsoft.com/office/drawing/2014/main" id="{24D1B387-3173-0AB6-3587-CCDE6B101165}"/>
              </a:ext>
            </a:extLst>
          </p:cNvPr>
          <p:cNvSpPr txBox="1"/>
          <p:nvPr/>
        </p:nvSpPr>
        <p:spPr bwMode="auto">
          <a:xfrm>
            <a:off x="4823758" y="1734296"/>
            <a:ext cx="6591300" cy="184666"/>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marR="0" algn="l" defTabSz="457200" rtl="0" eaLnBrk="0" fontAlgn="base" latinLnBrk="0" hangingPunct="0">
              <a:spcBef>
                <a:spcPct val="0"/>
              </a:spcBef>
              <a:buClrTx/>
              <a:buSzTx/>
              <a:tabLst/>
            </a:pPr>
            <a:r>
              <a:rPr kumimoji="0" lang="en-GB" sz="1200" b="0" i="1" u="none" strike="noStrike" kern="1200" cap="none" spc="0" normalizeH="0" baseline="0" noProof="0" dirty="0">
                <a:ln>
                  <a:noFill/>
                </a:ln>
                <a:effectLst/>
                <a:uLnTx/>
                <a:uFillTx/>
                <a:latin typeface="Verdana"/>
                <a:ea typeface="Verdana" pitchFamily="34" charset="0"/>
                <a:cs typeface="Verdana" pitchFamily="34" charset="0"/>
              </a:rPr>
              <a:t>Respondents' information, organisations involved, programme budget &amp; workload, …</a:t>
            </a:r>
          </a:p>
        </p:txBody>
      </p:sp>
      <p:sp>
        <p:nvSpPr>
          <p:cNvPr id="21" name="TextBox 20">
            <a:extLst>
              <a:ext uri="{FF2B5EF4-FFF2-40B4-BE49-F238E27FC236}">
                <a16:creationId xmlns:a16="http://schemas.microsoft.com/office/drawing/2014/main" id="{BF5DB029-F896-7695-5A9D-C82B6A5CDE47}"/>
              </a:ext>
            </a:extLst>
          </p:cNvPr>
          <p:cNvSpPr txBox="1"/>
          <p:nvPr/>
        </p:nvSpPr>
        <p:spPr bwMode="auto">
          <a:xfrm>
            <a:off x="4823758" y="3154205"/>
            <a:ext cx="6591300" cy="184666"/>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marR="0" algn="l" defTabSz="457200" rtl="0" eaLnBrk="0" fontAlgn="base" latinLnBrk="0" hangingPunct="0">
              <a:spcBef>
                <a:spcPct val="0"/>
              </a:spcBef>
              <a:buClrTx/>
              <a:buSzTx/>
              <a:tabLst/>
            </a:pPr>
            <a:r>
              <a:rPr kumimoji="0" lang="en-GB" sz="1200" b="0" i="1" u="none" strike="noStrike" kern="1200" cap="none" spc="0" normalizeH="0" baseline="0" noProof="0" dirty="0">
                <a:ln>
                  <a:noFill/>
                </a:ln>
                <a:effectLst/>
                <a:uLnTx/>
                <a:uFillTx/>
                <a:latin typeface="Verdana"/>
                <a:ea typeface="Verdana" pitchFamily="34" charset="0"/>
                <a:cs typeface="Verdana" pitchFamily="34" charset="0"/>
              </a:rPr>
              <a:t>Preparational tasks + Simplification measures related to those tasks.</a:t>
            </a:r>
          </a:p>
        </p:txBody>
      </p:sp>
      <p:sp>
        <p:nvSpPr>
          <p:cNvPr id="22" name="TextBox 21">
            <a:extLst>
              <a:ext uri="{FF2B5EF4-FFF2-40B4-BE49-F238E27FC236}">
                <a16:creationId xmlns:a16="http://schemas.microsoft.com/office/drawing/2014/main" id="{A1AF9733-7738-66C3-1689-FCE706EBC130}"/>
              </a:ext>
            </a:extLst>
          </p:cNvPr>
          <p:cNvSpPr txBox="1"/>
          <p:nvPr/>
        </p:nvSpPr>
        <p:spPr bwMode="auto">
          <a:xfrm>
            <a:off x="4823758" y="3662159"/>
            <a:ext cx="6591300" cy="184666"/>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marR="0" algn="l" defTabSz="457200" rtl="0" eaLnBrk="0" fontAlgn="base" latinLnBrk="0" hangingPunct="0">
              <a:spcBef>
                <a:spcPct val="0"/>
              </a:spcBef>
              <a:buClrTx/>
              <a:buSzTx/>
              <a:tabLst/>
            </a:pPr>
            <a:r>
              <a:rPr kumimoji="0" lang="en-GB" sz="1200" b="0" i="1" u="none" strike="noStrike" kern="1200" cap="none" spc="0" normalizeH="0" baseline="0" noProof="0" dirty="0">
                <a:ln>
                  <a:noFill/>
                </a:ln>
                <a:effectLst/>
                <a:uLnTx/>
                <a:uFillTx/>
                <a:latin typeface="Verdana"/>
                <a:ea typeface="Verdana" pitchFamily="34" charset="0"/>
                <a:cs typeface="Verdana" pitchFamily="34" charset="0"/>
              </a:rPr>
              <a:t>General management tasks + Simplification measures related to those tasks.</a:t>
            </a:r>
          </a:p>
        </p:txBody>
      </p:sp>
      <p:sp>
        <p:nvSpPr>
          <p:cNvPr id="23" name="TextBox 22">
            <a:extLst>
              <a:ext uri="{FF2B5EF4-FFF2-40B4-BE49-F238E27FC236}">
                <a16:creationId xmlns:a16="http://schemas.microsoft.com/office/drawing/2014/main" id="{451D6077-6331-BD0B-CBA4-6AD0B0F48977}"/>
              </a:ext>
            </a:extLst>
          </p:cNvPr>
          <p:cNvSpPr txBox="1"/>
          <p:nvPr/>
        </p:nvSpPr>
        <p:spPr bwMode="auto">
          <a:xfrm>
            <a:off x="4817078" y="4171783"/>
            <a:ext cx="6591300" cy="184666"/>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marR="0" algn="l" defTabSz="457200" rtl="0" eaLnBrk="0" fontAlgn="base" latinLnBrk="0" hangingPunct="0">
              <a:spcBef>
                <a:spcPct val="0"/>
              </a:spcBef>
              <a:buClrTx/>
              <a:buSzTx/>
              <a:tabLst/>
            </a:pPr>
            <a:r>
              <a:rPr kumimoji="0" lang="en-GB" sz="1200" b="0" i="1" u="none" strike="noStrike" kern="1200" cap="none" spc="0" normalizeH="0" baseline="0" noProof="0" dirty="0">
                <a:ln>
                  <a:noFill/>
                </a:ln>
                <a:effectLst/>
                <a:uLnTx/>
                <a:uFillTx/>
                <a:latin typeface="Verdana"/>
                <a:ea typeface="Verdana" pitchFamily="34" charset="0"/>
                <a:cs typeface="Verdana" pitchFamily="34" charset="0"/>
              </a:rPr>
              <a:t>Financial management tasks + Simplification measures related to those tasks.</a:t>
            </a:r>
          </a:p>
        </p:txBody>
      </p:sp>
      <p:sp>
        <p:nvSpPr>
          <p:cNvPr id="24" name="TextBox 23">
            <a:extLst>
              <a:ext uri="{FF2B5EF4-FFF2-40B4-BE49-F238E27FC236}">
                <a16:creationId xmlns:a16="http://schemas.microsoft.com/office/drawing/2014/main" id="{45B411F3-284B-3FB4-938A-2639AAB5DDDE}"/>
              </a:ext>
            </a:extLst>
          </p:cNvPr>
          <p:cNvSpPr txBox="1"/>
          <p:nvPr/>
        </p:nvSpPr>
        <p:spPr bwMode="auto">
          <a:xfrm>
            <a:off x="4817078" y="4679737"/>
            <a:ext cx="6591300" cy="184666"/>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marR="0" algn="l" defTabSz="457200" rtl="0" eaLnBrk="0" fontAlgn="base" latinLnBrk="0" hangingPunct="0">
              <a:spcBef>
                <a:spcPct val="0"/>
              </a:spcBef>
              <a:buClrTx/>
              <a:buSzTx/>
              <a:tabLst/>
            </a:pPr>
            <a:r>
              <a:rPr kumimoji="0" lang="en-GB" sz="1200" b="0" i="1" u="none" strike="noStrike" kern="1200" cap="none" spc="0" normalizeH="0" baseline="0" noProof="0" dirty="0">
                <a:ln>
                  <a:noFill/>
                </a:ln>
                <a:effectLst/>
                <a:uLnTx/>
                <a:uFillTx/>
                <a:latin typeface="Verdana"/>
                <a:ea typeface="Verdana" pitchFamily="34" charset="0"/>
                <a:cs typeface="Verdana" pitchFamily="34" charset="0"/>
              </a:rPr>
              <a:t>Tasks related to Operations + Simplification measures related to those tasks.</a:t>
            </a:r>
          </a:p>
        </p:txBody>
      </p:sp>
      <p:sp>
        <p:nvSpPr>
          <p:cNvPr id="25" name="TextBox 24">
            <a:extLst>
              <a:ext uri="{FF2B5EF4-FFF2-40B4-BE49-F238E27FC236}">
                <a16:creationId xmlns:a16="http://schemas.microsoft.com/office/drawing/2014/main" id="{0914F35C-D58A-EFAC-8063-4B5623987CDD}"/>
              </a:ext>
            </a:extLst>
          </p:cNvPr>
          <p:cNvSpPr txBox="1"/>
          <p:nvPr/>
        </p:nvSpPr>
        <p:spPr bwMode="auto">
          <a:xfrm>
            <a:off x="4844439" y="5208325"/>
            <a:ext cx="6591300" cy="184666"/>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marR="0" algn="l" defTabSz="457200" rtl="0" eaLnBrk="0" fontAlgn="base" latinLnBrk="0" hangingPunct="0">
              <a:spcBef>
                <a:spcPct val="0"/>
              </a:spcBef>
              <a:buClrTx/>
              <a:buSzTx/>
              <a:tabLst/>
            </a:pPr>
            <a:r>
              <a:rPr kumimoji="0" lang="en-GB" sz="1200" b="0" i="1" u="none" strike="noStrike" kern="1200" cap="none" spc="0" normalizeH="0" baseline="0" noProof="0" dirty="0">
                <a:ln>
                  <a:noFill/>
                </a:ln>
                <a:effectLst/>
                <a:uLnTx/>
                <a:uFillTx/>
                <a:latin typeface="Verdana"/>
                <a:ea typeface="Verdana" pitchFamily="34" charset="0"/>
                <a:cs typeface="Verdana" pitchFamily="34" charset="0"/>
              </a:rPr>
              <a:t>Rep., mon. and eval. </a:t>
            </a:r>
            <a:r>
              <a:rPr lang="en-GB" sz="1200" i="1" spc="0" dirty="0"/>
              <a:t>tasks + </a:t>
            </a:r>
            <a:r>
              <a:rPr kumimoji="0" lang="en-GB" sz="1200" b="0" i="1" u="none" strike="noStrike" kern="1200" cap="none" spc="0" normalizeH="0" baseline="0" noProof="0" dirty="0">
                <a:ln>
                  <a:noFill/>
                </a:ln>
                <a:effectLst/>
                <a:uLnTx/>
                <a:uFillTx/>
                <a:latin typeface="Verdana"/>
                <a:ea typeface="Verdana" pitchFamily="34" charset="0"/>
                <a:cs typeface="Verdana" pitchFamily="34" charset="0"/>
              </a:rPr>
              <a:t>Simplification measures related to those tasks.</a:t>
            </a:r>
          </a:p>
        </p:txBody>
      </p:sp>
      <p:sp>
        <p:nvSpPr>
          <p:cNvPr id="26" name="TextBox 25">
            <a:extLst>
              <a:ext uri="{FF2B5EF4-FFF2-40B4-BE49-F238E27FC236}">
                <a16:creationId xmlns:a16="http://schemas.microsoft.com/office/drawing/2014/main" id="{B94211F3-E7C4-AB35-1C8F-075B0F359F7D}"/>
              </a:ext>
            </a:extLst>
          </p:cNvPr>
          <p:cNvSpPr txBox="1"/>
          <p:nvPr/>
        </p:nvSpPr>
        <p:spPr bwMode="auto">
          <a:xfrm>
            <a:off x="4844439" y="5716279"/>
            <a:ext cx="6591300" cy="184666"/>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marR="0" algn="l" defTabSz="457200" rtl="0" eaLnBrk="0" fontAlgn="base" latinLnBrk="0" hangingPunct="0">
              <a:spcBef>
                <a:spcPct val="0"/>
              </a:spcBef>
              <a:buClrTx/>
              <a:buSzTx/>
              <a:tabLst/>
            </a:pPr>
            <a:r>
              <a:rPr kumimoji="0" lang="en-GB" sz="1200" b="0" i="1" u="none" strike="noStrike" kern="1200" cap="none" spc="0" normalizeH="0" baseline="0" noProof="0" dirty="0">
                <a:ln>
                  <a:noFill/>
                </a:ln>
                <a:effectLst/>
                <a:uLnTx/>
                <a:uFillTx/>
                <a:latin typeface="Verdana"/>
                <a:ea typeface="Verdana" pitchFamily="34" charset="0"/>
                <a:cs typeface="Verdana" pitchFamily="34" charset="0"/>
              </a:rPr>
              <a:t>Audit tasks + Simplification measures related to those tasks.</a:t>
            </a:r>
          </a:p>
        </p:txBody>
      </p:sp>
      <p:cxnSp>
        <p:nvCxnSpPr>
          <p:cNvPr id="27" name="Straight Connector 26">
            <a:extLst>
              <a:ext uri="{FF2B5EF4-FFF2-40B4-BE49-F238E27FC236}">
                <a16:creationId xmlns:a16="http://schemas.microsoft.com/office/drawing/2014/main" id="{F186F119-FD41-C161-6A35-5FFC8190E124}"/>
              </a:ext>
            </a:extLst>
          </p:cNvPr>
          <p:cNvCxnSpPr>
            <a:cxnSpLocks/>
          </p:cNvCxnSpPr>
          <p:nvPr/>
        </p:nvCxnSpPr>
        <p:spPr>
          <a:xfrm>
            <a:off x="210364" y="2183092"/>
            <a:ext cx="11750794" cy="0"/>
          </a:xfrm>
          <a:prstGeom prst="line">
            <a:avLst/>
          </a:prstGeom>
          <a:ln w="12700">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sp>
        <p:nvSpPr>
          <p:cNvPr id="28" name="Rectangle 27">
            <a:extLst>
              <a:ext uri="{FF2B5EF4-FFF2-40B4-BE49-F238E27FC236}">
                <a16:creationId xmlns:a16="http://schemas.microsoft.com/office/drawing/2014/main" id="{5634F4B1-6243-D55E-54AC-6ED32E1CFD79}"/>
              </a:ext>
            </a:extLst>
          </p:cNvPr>
          <p:cNvSpPr/>
          <p:nvPr/>
        </p:nvSpPr>
        <p:spPr>
          <a:xfrm>
            <a:off x="993020" y="2351992"/>
            <a:ext cx="3751350" cy="374239"/>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t>Administrative Practices</a:t>
            </a:r>
          </a:p>
        </p:txBody>
      </p:sp>
      <p:sp>
        <p:nvSpPr>
          <p:cNvPr id="29" name="Rectangle 28">
            <a:extLst>
              <a:ext uri="{FF2B5EF4-FFF2-40B4-BE49-F238E27FC236}">
                <a16:creationId xmlns:a16="http://schemas.microsoft.com/office/drawing/2014/main" id="{793ACB3B-2FFF-0FA2-194A-1741809D27C0}"/>
              </a:ext>
            </a:extLst>
          </p:cNvPr>
          <p:cNvSpPr/>
          <p:nvPr/>
        </p:nvSpPr>
        <p:spPr>
          <a:xfrm>
            <a:off x="993020" y="2351992"/>
            <a:ext cx="10580688" cy="374239"/>
          </a:xfrm>
          <a:prstGeom prst="rect">
            <a:avLst/>
          </a:prstGeom>
          <a:noFill/>
          <a:ln w="28575">
            <a:solidFill>
              <a:schemeClr val="tx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b="1" dirty="0"/>
          </a:p>
        </p:txBody>
      </p:sp>
      <p:sp>
        <p:nvSpPr>
          <p:cNvPr id="30" name="TextBox 29">
            <a:extLst>
              <a:ext uri="{FF2B5EF4-FFF2-40B4-BE49-F238E27FC236}">
                <a16:creationId xmlns:a16="http://schemas.microsoft.com/office/drawing/2014/main" id="{301CDADD-4691-1EAA-E2AC-869820036C76}"/>
              </a:ext>
            </a:extLst>
          </p:cNvPr>
          <p:cNvSpPr txBox="1"/>
          <p:nvPr/>
        </p:nvSpPr>
        <p:spPr bwMode="auto">
          <a:xfrm>
            <a:off x="4842708" y="2433216"/>
            <a:ext cx="6591300" cy="184666"/>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marR="0" algn="l" defTabSz="457200" rtl="0" eaLnBrk="0" fontAlgn="base" latinLnBrk="0" hangingPunct="0">
              <a:spcBef>
                <a:spcPct val="0"/>
              </a:spcBef>
              <a:buClrTx/>
              <a:buSzTx/>
              <a:tabLst/>
            </a:pPr>
            <a:r>
              <a:rPr kumimoji="0" lang="en-GB" sz="1200" b="0" i="1" u="none" strike="noStrike" kern="1200" cap="none" spc="0" normalizeH="0" baseline="0" noProof="0" dirty="0">
                <a:ln>
                  <a:noFill/>
                </a:ln>
                <a:effectLst/>
                <a:uLnTx/>
                <a:uFillTx/>
                <a:latin typeface="Verdana"/>
                <a:ea typeface="Verdana" pitchFamily="34" charset="0"/>
                <a:cs typeface="Verdana" pitchFamily="34" charset="0"/>
              </a:rPr>
              <a:t>Digitalisation + Use of Simplified Cost Options (SCOs)</a:t>
            </a:r>
          </a:p>
        </p:txBody>
      </p:sp>
      <p:cxnSp>
        <p:nvCxnSpPr>
          <p:cNvPr id="31" name="Straight Connector 30">
            <a:extLst>
              <a:ext uri="{FF2B5EF4-FFF2-40B4-BE49-F238E27FC236}">
                <a16:creationId xmlns:a16="http://schemas.microsoft.com/office/drawing/2014/main" id="{0E26A909-730E-8936-10CC-5B28C63486FF}"/>
              </a:ext>
            </a:extLst>
          </p:cNvPr>
          <p:cNvCxnSpPr>
            <a:cxnSpLocks/>
          </p:cNvCxnSpPr>
          <p:nvPr/>
        </p:nvCxnSpPr>
        <p:spPr>
          <a:xfrm>
            <a:off x="237258" y="2909233"/>
            <a:ext cx="11750794" cy="0"/>
          </a:xfrm>
          <a:prstGeom prst="line">
            <a:avLst/>
          </a:prstGeom>
          <a:ln w="12700">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5FEB14BE-9512-C244-6D97-ECE72BCE81FD}"/>
              </a:ext>
            </a:extLst>
          </p:cNvPr>
          <p:cNvSpPr txBox="1"/>
          <p:nvPr/>
        </p:nvSpPr>
        <p:spPr bwMode="auto">
          <a:xfrm>
            <a:off x="210364" y="2973672"/>
            <a:ext cx="554639"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400" b="0" i="1"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Part </a:t>
            </a:r>
            <a:r>
              <a:rPr kumimoji="0" lang="en-GB" sz="1400" i="1"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C</a:t>
            </a:r>
          </a:p>
        </p:txBody>
      </p:sp>
      <p:sp>
        <p:nvSpPr>
          <p:cNvPr id="33" name="TextBox 32">
            <a:extLst>
              <a:ext uri="{FF2B5EF4-FFF2-40B4-BE49-F238E27FC236}">
                <a16:creationId xmlns:a16="http://schemas.microsoft.com/office/drawing/2014/main" id="{4F772F60-A873-F7BC-C035-8FCC831DA18B}"/>
              </a:ext>
            </a:extLst>
          </p:cNvPr>
          <p:cNvSpPr txBox="1"/>
          <p:nvPr/>
        </p:nvSpPr>
        <p:spPr bwMode="auto">
          <a:xfrm>
            <a:off x="750844" y="3263842"/>
            <a:ext cx="554639"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40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1.</a:t>
            </a:r>
          </a:p>
        </p:txBody>
      </p:sp>
      <p:sp>
        <p:nvSpPr>
          <p:cNvPr id="34" name="TextBox 33">
            <a:extLst>
              <a:ext uri="{FF2B5EF4-FFF2-40B4-BE49-F238E27FC236}">
                <a16:creationId xmlns:a16="http://schemas.microsoft.com/office/drawing/2014/main" id="{80B1152B-264D-6447-43F9-0D750FD64EB2}"/>
              </a:ext>
            </a:extLst>
          </p:cNvPr>
          <p:cNvSpPr txBox="1"/>
          <p:nvPr/>
        </p:nvSpPr>
        <p:spPr bwMode="auto">
          <a:xfrm>
            <a:off x="750844" y="3780070"/>
            <a:ext cx="554639"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40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2.</a:t>
            </a:r>
          </a:p>
        </p:txBody>
      </p:sp>
      <p:sp>
        <p:nvSpPr>
          <p:cNvPr id="35" name="TextBox 34">
            <a:extLst>
              <a:ext uri="{FF2B5EF4-FFF2-40B4-BE49-F238E27FC236}">
                <a16:creationId xmlns:a16="http://schemas.microsoft.com/office/drawing/2014/main" id="{CB31BCFE-2234-D059-05D9-56A377FD26B4}"/>
              </a:ext>
            </a:extLst>
          </p:cNvPr>
          <p:cNvSpPr txBox="1"/>
          <p:nvPr/>
        </p:nvSpPr>
        <p:spPr bwMode="auto">
          <a:xfrm>
            <a:off x="750844" y="4296298"/>
            <a:ext cx="554639"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lang="en-GB" sz="1400" i="1" spc="0" dirty="0">
                <a:solidFill>
                  <a:schemeClr val="accent1">
                    <a:lumMod val="50000"/>
                  </a:schemeClr>
                </a:solidFill>
              </a:rPr>
              <a:t>3</a:t>
            </a:r>
            <a:r>
              <a:rPr kumimoji="0" lang="en-GB" sz="140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a:t>
            </a:r>
          </a:p>
        </p:txBody>
      </p:sp>
      <p:sp>
        <p:nvSpPr>
          <p:cNvPr id="36" name="TextBox 35">
            <a:extLst>
              <a:ext uri="{FF2B5EF4-FFF2-40B4-BE49-F238E27FC236}">
                <a16:creationId xmlns:a16="http://schemas.microsoft.com/office/drawing/2014/main" id="{6F6F39B5-D277-084A-4260-D20298AF6EEE}"/>
              </a:ext>
            </a:extLst>
          </p:cNvPr>
          <p:cNvSpPr txBox="1"/>
          <p:nvPr/>
        </p:nvSpPr>
        <p:spPr bwMode="auto">
          <a:xfrm>
            <a:off x="750844" y="4812526"/>
            <a:ext cx="554639"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lang="en-GB" sz="1400" i="1" spc="0" dirty="0">
                <a:solidFill>
                  <a:schemeClr val="accent1">
                    <a:lumMod val="50000"/>
                  </a:schemeClr>
                </a:solidFill>
              </a:rPr>
              <a:t>4</a:t>
            </a:r>
            <a:r>
              <a:rPr kumimoji="0" lang="en-GB" sz="140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a:t>
            </a:r>
          </a:p>
        </p:txBody>
      </p:sp>
      <p:sp>
        <p:nvSpPr>
          <p:cNvPr id="37" name="TextBox 36">
            <a:extLst>
              <a:ext uri="{FF2B5EF4-FFF2-40B4-BE49-F238E27FC236}">
                <a16:creationId xmlns:a16="http://schemas.microsoft.com/office/drawing/2014/main" id="{814A46EC-B0E3-2491-94D1-F01BCC7180B1}"/>
              </a:ext>
            </a:extLst>
          </p:cNvPr>
          <p:cNvSpPr txBox="1"/>
          <p:nvPr/>
        </p:nvSpPr>
        <p:spPr bwMode="auto">
          <a:xfrm>
            <a:off x="750844" y="5328754"/>
            <a:ext cx="554639"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lang="en-GB" sz="1400" i="1" spc="0" dirty="0">
                <a:solidFill>
                  <a:schemeClr val="accent1">
                    <a:lumMod val="50000"/>
                  </a:schemeClr>
                </a:solidFill>
              </a:rPr>
              <a:t>5</a:t>
            </a:r>
            <a:r>
              <a:rPr kumimoji="0" lang="en-GB" sz="140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a:t>
            </a:r>
          </a:p>
        </p:txBody>
      </p:sp>
      <p:sp>
        <p:nvSpPr>
          <p:cNvPr id="38" name="TextBox 37">
            <a:extLst>
              <a:ext uri="{FF2B5EF4-FFF2-40B4-BE49-F238E27FC236}">
                <a16:creationId xmlns:a16="http://schemas.microsoft.com/office/drawing/2014/main" id="{82460426-1A37-921F-7878-549CDFA7BE15}"/>
              </a:ext>
            </a:extLst>
          </p:cNvPr>
          <p:cNvSpPr txBox="1"/>
          <p:nvPr/>
        </p:nvSpPr>
        <p:spPr bwMode="auto">
          <a:xfrm>
            <a:off x="750844" y="5844983"/>
            <a:ext cx="554639"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lang="en-GB" sz="1400" i="1" spc="0" dirty="0">
                <a:solidFill>
                  <a:schemeClr val="accent1">
                    <a:lumMod val="50000"/>
                  </a:schemeClr>
                </a:solidFill>
              </a:rPr>
              <a:t>6</a:t>
            </a:r>
            <a:r>
              <a:rPr kumimoji="0" lang="en-GB" sz="140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a:t>
            </a:r>
          </a:p>
        </p:txBody>
      </p:sp>
      <p:sp>
        <p:nvSpPr>
          <p:cNvPr id="7" name="Action Button: Go to Beginning 6">
            <a:hlinkClick r:id="rId2" action="ppaction://hlinksldjump" highlightClick="1"/>
            <a:extLst>
              <a:ext uri="{FF2B5EF4-FFF2-40B4-BE49-F238E27FC236}">
                <a16:creationId xmlns:a16="http://schemas.microsoft.com/office/drawing/2014/main" id="{DAC2830F-1B3B-2CBA-AA7F-2ED5BB5E49C2}"/>
              </a:ext>
            </a:extLst>
          </p:cNvPr>
          <p:cNvSpPr/>
          <p:nvPr/>
        </p:nvSpPr>
        <p:spPr>
          <a:xfrm>
            <a:off x="11215991" y="6352162"/>
            <a:ext cx="778213" cy="398834"/>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BE" sz="2000" err="1"/>
          </a:p>
        </p:txBody>
      </p:sp>
      <p:sp>
        <p:nvSpPr>
          <p:cNvPr id="39" name="TextBox 38">
            <a:extLst>
              <a:ext uri="{FF2B5EF4-FFF2-40B4-BE49-F238E27FC236}">
                <a16:creationId xmlns:a16="http://schemas.microsoft.com/office/drawing/2014/main" id="{D893A259-350C-A2B1-27BA-312F48D255B0}"/>
              </a:ext>
            </a:extLst>
          </p:cNvPr>
          <p:cNvSpPr txBox="1"/>
          <p:nvPr/>
        </p:nvSpPr>
        <p:spPr bwMode="auto">
          <a:xfrm>
            <a:off x="10437778" y="6397690"/>
            <a:ext cx="778213" cy="3077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fr-FR" sz="1000" b="0" i="1" u="none" strike="noStrike" kern="1200" cap="none" spc="0" normalizeH="0" baseline="0" noProof="0">
                <a:ln>
                  <a:noFill/>
                </a:ln>
                <a:solidFill>
                  <a:schemeClr val="tx2"/>
                </a:solidFill>
                <a:effectLst/>
                <a:uLnTx/>
                <a:uFillTx/>
                <a:latin typeface="Verdana"/>
                <a:ea typeface="Verdana" pitchFamily="34" charset="0"/>
                <a:cs typeface="Verdana" pitchFamily="34" charset="0"/>
              </a:rPr>
              <a:t>Go to table of content</a:t>
            </a:r>
            <a:endParaRPr kumimoji="0" lang="nl-BE" sz="1000" b="0" i="1" u="none" strike="noStrike" kern="1200" cap="none" spc="0" normalizeH="0" baseline="0" noProof="0" err="1">
              <a:ln>
                <a:noFill/>
              </a:ln>
              <a:solidFill>
                <a:schemeClr val="tx2"/>
              </a:solidFill>
              <a:effectLst/>
              <a:uLnTx/>
              <a:uFillTx/>
              <a:latin typeface="Verdana"/>
              <a:ea typeface="Verdana" pitchFamily="34" charset="0"/>
              <a:cs typeface="Verdana" pitchFamily="34" charset="0"/>
            </a:endParaRPr>
          </a:p>
        </p:txBody>
      </p:sp>
    </p:spTree>
    <p:extLst>
      <p:ext uri="{BB962C8B-B14F-4D97-AF65-F5344CB8AC3E}">
        <p14:creationId xmlns:p14="http://schemas.microsoft.com/office/powerpoint/2010/main" val="27396628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2767DA1-8B40-0CFA-BF01-E288E55F3493}"/>
              </a:ext>
            </a:extLst>
          </p:cNvPr>
          <p:cNvSpPr/>
          <p:nvPr/>
        </p:nvSpPr>
        <p:spPr>
          <a:xfrm>
            <a:off x="0" y="0"/>
            <a:ext cx="12190413" cy="1066800"/>
          </a:xfrm>
          <a:prstGeom prst="rect">
            <a:avLst/>
          </a:prstGeom>
          <a:solidFill>
            <a:schemeClr val="accent1">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96000" lvl="2" indent="0">
              <a:buNone/>
            </a:pPr>
            <a:r>
              <a:rPr lang="en-GB" sz="2600" b="1" dirty="0">
                <a:latin typeface="Gotham Rounded Light" pitchFamily="50" charset="0"/>
              </a:rPr>
              <a:t>Respondents</a:t>
            </a:r>
            <a:r>
              <a:rPr lang="en-GB" sz="2600" b="1">
                <a:latin typeface="Gotham Rounded Light" pitchFamily="50" charset="0"/>
              </a:rPr>
              <a:t>: which authority is likely to fill the different parts of the questionnaire?</a:t>
            </a:r>
            <a:endParaRPr lang="en-GB" sz="2600" b="1" dirty="0">
              <a:latin typeface="Gotham Rounded Light" pitchFamily="50" charset="0"/>
            </a:endParaRPr>
          </a:p>
        </p:txBody>
      </p:sp>
      <p:sp>
        <p:nvSpPr>
          <p:cNvPr id="2" name="Rectangle 1">
            <a:extLst>
              <a:ext uri="{FF2B5EF4-FFF2-40B4-BE49-F238E27FC236}">
                <a16:creationId xmlns:a16="http://schemas.microsoft.com/office/drawing/2014/main" id="{A1052D8A-4BC5-7DB1-07E2-400A937F54E0}"/>
              </a:ext>
            </a:extLst>
          </p:cNvPr>
          <p:cNvSpPr/>
          <p:nvPr/>
        </p:nvSpPr>
        <p:spPr>
          <a:xfrm>
            <a:off x="974070" y="3072883"/>
            <a:ext cx="3751350" cy="374239"/>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t>Preparation</a:t>
            </a:r>
          </a:p>
        </p:txBody>
      </p:sp>
      <p:sp>
        <p:nvSpPr>
          <p:cNvPr id="3" name="Rectangle 2">
            <a:extLst>
              <a:ext uri="{FF2B5EF4-FFF2-40B4-BE49-F238E27FC236}">
                <a16:creationId xmlns:a16="http://schemas.microsoft.com/office/drawing/2014/main" id="{A3175464-5C38-B6A6-7D94-D86D2E5E2D74}"/>
              </a:ext>
            </a:extLst>
          </p:cNvPr>
          <p:cNvSpPr/>
          <p:nvPr/>
        </p:nvSpPr>
        <p:spPr>
          <a:xfrm>
            <a:off x="974070" y="3580935"/>
            <a:ext cx="3751350" cy="374239"/>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t>General Management</a:t>
            </a:r>
          </a:p>
        </p:txBody>
      </p:sp>
      <p:sp>
        <p:nvSpPr>
          <p:cNvPr id="5" name="Rectangle 4">
            <a:extLst>
              <a:ext uri="{FF2B5EF4-FFF2-40B4-BE49-F238E27FC236}">
                <a16:creationId xmlns:a16="http://schemas.microsoft.com/office/drawing/2014/main" id="{72EE8E1F-D0C6-DCFC-3C7A-DA7F0C7DD0CC}"/>
              </a:ext>
            </a:extLst>
          </p:cNvPr>
          <p:cNvSpPr/>
          <p:nvPr/>
        </p:nvSpPr>
        <p:spPr>
          <a:xfrm>
            <a:off x="974070" y="4103292"/>
            <a:ext cx="3751350" cy="374239"/>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t>Financial Management</a:t>
            </a:r>
          </a:p>
        </p:txBody>
      </p:sp>
      <p:sp>
        <p:nvSpPr>
          <p:cNvPr id="6" name="Rectangle 5">
            <a:extLst>
              <a:ext uri="{FF2B5EF4-FFF2-40B4-BE49-F238E27FC236}">
                <a16:creationId xmlns:a16="http://schemas.microsoft.com/office/drawing/2014/main" id="{C2D300CC-8B5F-D75A-DD03-317EF3186544}"/>
              </a:ext>
            </a:extLst>
          </p:cNvPr>
          <p:cNvSpPr/>
          <p:nvPr/>
        </p:nvSpPr>
        <p:spPr>
          <a:xfrm>
            <a:off x="974070" y="4622511"/>
            <a:ext cx="3751350" cy="374239"/>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t>Operations</a:t>
            </a:r>
          </a:p>
        </p:txBody>
      </p:sp>
      <p:sp>
        <p:nvSpPr>
          <p:cNvPr id="8" name="Rectangle 7">
            <a:extLst>
              <a:ext uri="{FF2B5EF4-FFF2-40B4-BE49-F238E27FC236}">
                <a16:creationId xmlns:a16="http://schemas.microsoft.com/office/drawing/2014/main" id="{D8C27558-040B-23C0-48EE-6BD36103AC07}"/>
              </a:ext>
            </a:extLst>
          </p:cNvPr>
          <p:cNvSpPr/>
          <p:nvPr/>
        </p:nvSpPr>
        <p:spPr>
          <a:xfrm>
            <a:off x="974070" y="5141730"/>
            <a:ext cx="3751350" cy="374239"/>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t>Reporting, monitoring and evaluation</a:t>
            </a:r>
          </a:p>
        </p:txBody>
      </p:sp>
      <p:sp>
        <p:nvSpPr>
          <p:cNvPr id="9" name="Rectangle 8">
            <a:extLst>
              <a:ext uri="{FF2B5EF4-FFF2-40B4-BE49-F238E27FC236}">
                <a16:creationId xmlns:a16="http://schemas.microsoft.com/office/drawing/2014/main" id="{979E0288-8CA8-D9E7-E8AB-DE8E85602972}"/>
              </a:ext>
            </a:extLst>
          </p:cNvPr>
          <p:cNvSpPr/>
          <p:nvPr/>
        </p:nvSpPr>
        <p:spPr>
          <a:xfrm>
            <a:off x="974070" y="5660949"/>
            <a:ext cx="3751350" cy="374239"/>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t>Audit</a:t>
            </a:r>
          </a:p>
        </p:txBody>
      </p:sp>
      <p:sp>
        <p:nvSpPr>
          <p:cNvPr id="10" name="Rectangle 9">
            <a:extLst>
              <a:ext uri="{FF2B5EF4-FFF2-40B4-BE49-F238E27FC236}">
                <a16:creationId xmlns:a16="http://schemas.microsoft.com/office/drawing/2014/main" id="{DB285270-65F5-C481-267E-0C652E76758B}"/>
              </a:ext>
            </a:extLst>
          </p:cNvPr>
          <p:cNvSpPr/>
          <p:nvPr/>
        </p:nvSpPr>
        <p:spPr>
          <a:xfrm>
            <a:off x="974070" y="1653072"/>
            <a:ext cx="3751350" cy="374239"/>
          </a:xfrm>
          <a:prstGeom prst="rect">
            <a:avLst/>
          </a:prstGeom>
          <a:solidFill>
            <a:schemeClr val="accent1">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t>Background</a:t>
            </a:r>
          </a:p>
        </p:txBody>
      </p:sp>
      <p:sp>
        <p:nvSpPr>
          <p:cNvPr id="11" name="TextBox 10">
            <a:extLst>
              <a:ext uri="{FF2B5EF4-FFF2-40B4-BE49-F238E27FC236}">
                <a16:creationId xmlns:a16="http://schemas.microsoft.com/office/drawing/2014/main" id="{9FF13F6C-25D1-2F99-39A7-24F1F562F335}"/>
              </a:ext>
            </a:extLst>
          </p:cNvPr>
          <p:cNvSpPr txBox="1"/>
          <p:nvPr/>
        </p:nvSpPr>
        <p:spPr bwMode="auto">
          <a:xfrm>
            <a:off x="197765" y="1651181"/>
            <a:ext cx="548227"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400" b="0" i="1"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Part A</a:t>
            </a:r>
          </a:p>
        </p:txBody>
      </p:sp>
      <p:sp>
        <p:nvSpPr>
          <p:cNvPr id="12" name="TextBox 11">
            <a:extLst>
              <a:ext uri="{FF2B5EF4-FFF2-40B4-BE49-F238E27FC236}">
                <a16:creationId xmlns:a16="http://schemas.microsoft.com/office/drawing/2014/main" id="{9E5A9DF0-FCF2-FD33-D79C-FE2807B9378A}"/>
              </a:ext>
            </a:extLst>
          </p:cNvPr>
          <p:cNvSpPr txBox="1"/>
          <p:nvPr/>
        </p:nvSpPr>
        <p:spPr bwMode="auto">
          <a:xfrm>
            <a:off x="210364" y="2231152"/>
            <a:ext cx="554639"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400" b="0" i="1"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Part </a:t>
            </a:r>
            <a:r>
              <a:rPr kumimoji="0" lang="en-GB" sz="1400" i="1"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B</a:t>
            </a:r>
          </a:p>
        </p:txBody>
      </p:sp>
      <p:sp>
        <p:nvSpPr>
          <p:cNvPr id="13" name="Rectangle 12">
            <a:extLst>
              <a:ext uri="{FF2B5EF4-FFF2-40B4-BE49-F238E27FC236}">
                <a16:creationId xmlns:a16="http://schemas.microsoft.com/office/drawing/2014/main" id="{16A2CF77-B57C-3914-FC20-5D25A52A735F}"/>
              </a:ext>
            </a:extLst>
          </p:cNvPr>
          <p:cNvSpPr/>
          <p:nvPr/>
        </p:nvSpPr>
        <p:spPr>
          <a:xfrm>
            <a:off x="974070" y="1653072"/>
            <a:ext cx="3751350" cy="374239"/>
          </a:xfrm>
          <a:prstGeom prst="rect">
            <a:avLst/>
          </a:prstGeom>
          <a:noFill/>
          <a:ln w="28575">
            <a:solidFill>
              <a:schemeClr val="accent1">
                <a:lumMod val="2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b="1" dirty="0"/>
          </a:p>
        </p:txBody>
      </p:sp>
      <p:sp>
        <p:nvSpPr>
          <p:cNvPr id="14" name="Rectangle 13">
            <a:extLst>
              <a:ext uri="{FF2B5EF4-FFF2-40B4-BE49-F238E27FC236}">
                <a16:creationId xmlns:a16="http://schemas.microsoft.com/office/drawing/2014/main" id="{61A6EE50-DEDB-86B3-C0DC-8FF4BB0FF36D}"/>
              </a:ext>
            </a:extLst>
          </p:cNvPr>
          <p:cNvSpPr/>
          <p:nvPr/>
        </p:nvSpPr>
        <p:spPr>
          <a:xfrm>
            <a:off x="974070" y="4107844"/>
            <a:ext cx="3751350" cy="374239"/>
          </a:xfrm>
          <a:prstGeom prst="rect">
            <a:avLst/>
          </a:prstGeom>
          <a:noFill/>
          <a:ln w="28575">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b="1" dirty="0"/>
          </a:p>
        </p:txBody>
      </p:sp>
      <p:sp>
        <p:nvSpPr>
          <p:cNvPr id="15" name="Rectangle 14">
            <a:extLst>
              <a:ext uri="{FF2B5EF4-FFF2-40B4-BE49-F238E27FC236}">
                <a16:creationId xmlns:a16="http://schemas.microsoft.com/office/drawing/2014/main" id="{F88D42C6-FACE-4346-E0CD-085F02AD0FC9}"/>
              </a:ext>
            </a:extLst>
          </p:cNvPr>
          <p:cNvSpPr/>
          <p:nvPr/>
        </p:nvSpPr>
        <p:spPr>
          <a:xfrm>
            <a:off x="974070" y="4622511"/>
            <a:ext cx="3751350" cy="374239"/>
          </a:xfrm>
          <a:prstGeom prst="rect">
            <a:avLst/>
          </a:prstGeom>
          <a:noFill/>
          <a:ln w="28575">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b="1" dirty="0"/>
          </a:p>
        </p:txBody>
      </p:sp>
      <p:sp>
        <p:nvSpPr>
          <p:cNvPr id="16" name="Rectangle 15">
            <a:extLst>
              <a:ext uri="{FF2B5EF4-FFF2-40B4-BE49-F238E27FC236}">
                <a16:creationId xmlns:a16="http://schemas.microsoft.com/office/drawing/2014/main" id="{33C5F5CA-F7DC-68C0-6B6E-02488B640B1A}"/>
              </a:ext>
            </a:extLst>
          </p:cNvPr>
          <p:cNvSpPr/>
          <p:nvPr/>
        </p:nvSpPr>
        <p:spPr>
          <a:xfrm>
            <a:off x="974070" y="3580935"/>
            <a:ext cx="3751350" cy="374239"/>
          </a:xfrm>
          <a:prstGeom prst="rect">
            <a:avLst/>
          </a:prstGeom>
          <a:noFill/>
          <a:ln w="28575">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b="1" dirty="0"/>
          </a:p>
        </p:txBody>
      </p:sp>
      <p:sp>
        <p:nvSpPr>
          <p:cNvPr id="17" name="Rectangle 16">
            <a:extLst>
              <a:ext uri="{FF2B5EF4-FFF2-40B4-BE49-F238E27FC236}">
                <a16:creationId xmlns:a16="http://schemas.microsoft.com/office/drawing/2014/main" id="{D0CD572D-30C4-3A51-E63E-995F4754BE1D}"/>
              </a:ext>
            </a:extLst>
          </p:cNvPr>
          <p:cNvSpPr/>
          <p:nvPr/>
        </p:nvSpPr>
        <p:spPr>
          <a:xfrm>
            <a:off x="974070" y="3067877"/>
            <a:ext cx="3751350" cy="374239"/>
          </a:xfrm>
          <a:prstGeom prst="rect">
            <a:avLst/>
          </a:prstGeom>
          <a:noFill/>
          <a:ln w="28575">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b="1" dirty="0"/>
          </a:p>
        </p:txBody>
      </p:sp>
      <p:sp>
        <p:nvSpPr>
          <p:cNvPr id="18" name="Rectangle 17">
            <a:extLst>
              <a:ext uri="{FF2B5EF4-FFF2-40B4-BE49-F238E27FC236}">
                <a16:creationId xmlns:a16="http://schemas.microsoft.com/office/drawing/2014/main" id="{C177F5A8-D3A4-4E48-729C-813941450152}"/>
              </a:ext>
            </a:extLst>
          </p:cNvPr>
          <p:cNvSpPr/>
          <p:nvPr/>
        </p:nvSpPr>
        <p:spPr>
          <a:xfrm>
            <a:off x="974070" y="5136724"/>
            <a:ext cx="3751350" cy="374239"/>
          </a:xfrm>
          <a:prstGeom prst="rect">
            <a:avLst/>
          </a:prstGeom>
          <a:noFill/>
          <a:ln w="28575">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b="1" dirty="0"/>
          </a:p>
        </p:txBody>
      </p:sp>
      <p:sp>
        <p:nvSpPr>
          <p:cNvPr id="19" name="Rectangle 18">
            <a:extLst>
              <a:ext uri="{FF2B5EF4-FFF2-40B4-BE49-F238E27FC236}">
                <a16:creationId xmlns:a16="http://schemas.microsoft.com/office/drawing/2014/main" id="{3C5ACC9C-29BF-4C0D-0929-65ABC8792BE0}"/>
              </a:ext>
            </a:extLst>
          </p:cNvPr>
          <p:cNvSpPr/>
          <p:nvPr/>
        </p:nvSpPr>
        <p:spPr>
          <a:xfrm>
            <a:off x="974070" y="5653105"/>
            <a:ext cx="3751350" cy="374239"/>
          </a:xfrm>
          <a:prstGeom prst="rect">
            <a:avLst/>
          </a:prstGeom>
          <a:noFill/>
          <a:ln w="28575">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b="1" dirty="0"/>
          </a:p>
        </p:txBody>
      </p:sp>
      <p:cxnSp>
        <p:nvCxnSpPr>
          <p:cNvPr id="27" name="Straight Connector 26">
            <a:extLst>
              <a:ext uri="{FF2B5EF4-FFF2-40B4-BE49-F238E27FC236}">
                <a16:creationId xmlns:a16="http://schemas.microsoft.com/office/drawing/2014/main" id="{F186F119-FD41-C161-6A35-5FFC8190E124}"/>
              </a:ext>
            </a:extLst>
          </p:cNvPr>
          <p:cNvCxnSpPr>
            <a:cxnSpLocks/>
          </p:cNvCxnSpPr>
          <p:nvPr/>
        </p:nvCxnSpPr>
        <p:spPr>
          <a:xfrm>
            <a:off x="210364" y="2183092"/>
            <a:ext cx="11750794" cy="0"/>
          </a:xfrm>
          <a:prstGeom prst="line">
            <a:avLst/>
          </a:prstGeom>
          <a:ln w="12700">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sp>
        <p:nvSpPr>
          <p:cNvPr id="28" name="Rectangle 27">
            <a:extLst>
              <a:ext uri="{FF2B5EF4-FFF2-40B4-BE49-F238E27FC236}">
                <a16:creationId xmlns:a16="http://schemas.microsoft.com/office/drawing/2014/main" id="{5634F4B1-6243-D55E-54AC-6ED32E1CFD79}"/>
              </a:ext>
            </a:extLst>
          </p:cNvPr>
          <p:cNvSpPr/>
          <p:nvPr/>
        </p:nvSpPr>
        <p:spPr>
          <a:xfrm>
            <a:off x="993020" y="2351992"/>
            <a:ext cx="3751350" cy="374239"/>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t>Administrative Practices</a:t>
            </a:r>
          </a:p>
        </p:txBody>
      </p:sp>
      <p:sp>
        <p:nvSpPr>
          <p:cNvPr id="29" name="Rectangle 28">
            <a:extLst>
              <a:ext uri="{FF2B5EF4-FFF2-40B4-BE49-F238E27FC236}">
                <a16:creationId xmlns:a16="http://schemas.microsoft.com/office/drawing/2014/main" id="{793ACB3B-2FFF-0FA2-194A-1741809D27C0}"/>
              </a:ext>
            </a:extLst>
          </p:cNvPr>
          <p:cNvSpPr/>
          <p:nvPr/>
        </p:nvSpPr>
        <p:spPr>
          <a:xfrm>
            <a:off x="993020" y="2351992"/>
            <a:ext cx="3751350" cy="374239"/>
          </a:xfrm>
          <a:prstGeom prst="rect">
            <a:avLst/>
          </a:prstGeom>
          <a:noFill/>
          <a:ln w="28575">
            <a:solidFill>
              <a:schemeClr val="tx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b="1" dirty="0"/>
          </a:p>
        </p:txBody>
      </p:sp>
      <p:cxnSp>
        <p:nvCxnSpPr>
          <p:cNvPr id="31" name="Straight Connector 30">
            <a:extLst>
              <a:ext uri="{FF2B5EF4-FFF2-40B4-BE49-F238E27FC236}">
                <a16:creationId xmlns:a16="http://schemas.microsoft.com/office/drawing/2014/main" id="{0E26A909-730E-8936-10CC-5B28C63486FF}"/>
              </a:ext>
            </a:extLst>
          </p:cNvPr>
          <p:cNvCxnSpPr>
            <a:cxnSpLocks/>
          </p:cNvCxnSpPr>
          <p:nvPr/>
        </p:nvCxnSpPr>
        <p:spPr>
          <a:xfrm>
            <a:off x="237258" y="2909233"/>
            <a:ext cx="11750794" cy="0"/>
          </a:xfrm>
          <a:prstGeom prst="line">
            <a:avLst/>
          </a:prstGeom>
          <a:ln w="12700">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5FEB14BE-9512-C244-6D97-ECE72BCE81FD}"/>
              </a:ext>
            </a:extLst>
          </p:cNvPr>
          <p:cNvSpPr txBox="1"/>
          <p:nvPr/>
        </p:nvSpPr>
        <p:spPr bwMode="auto">
          <a:xfrm>
            <a:off x="210364" y="2973672"/>
            <a:ext cx="554639"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400" b="0" i="1"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Part </a:t>
            </a:r>
            <a:r>
              <a:rPr kumimoji="0" lang="en-GB" sz="1400" i="1"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C</a:t>
            </a:r>
          </a:p>
        </p:txBody>
      </p:sp>
      <p:sp>
        <p:nvSpPr>
          <p:cNvPr id="33" name="TextBox 32">
            <a:extLst>
              <a:ext uri="{FF2B5EF4-FFF2-40B4-BE49-F238E27FC236}">
                <a16:creationId xmlns:a16="http://schemas.microsoft.com/office/drawing/2014/main" id="{4F772F60-A873-F7BC-C035-8FCC831DA18B}"/>
              </a:ext>
            </a:extLst>
          </p:cNvPr>
          <p:cNvSpPr txBox="1"/>
          <p:nvPr/>
        </p:nvSpPr>
        <p:spPr bwMode="auto">
          <a:xfrm>
            <a:off x="750844" y="3263842"/>
            <a:ext cx="554639"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40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1.</a:t>
            </a:r>
          </a:p>
        </p:txBody>
      </p:sp>
      <p:sp>
        <p:nvSpPr>
          <p:cNvPr id="34" name="TextBox 33">
            <a:extLst>
              <a:ext uri="{FF2B5EF4-FFF2-40B4-BE49-F238E27FC236}">
                <a16:creationId xmlns:a16="http://schemas.microsoft.com/office/drawing/2014/main" id="{80B1152B-264D-6447-43F9-0D750FD64EB2}"/>
              </a:ext>
            </a:extLst>
          </p:cNvPr>
          <p:cNvSpPr txBox="1"/>
          <p:nvPr/>
        </p:nvSpPr>
        <p:spPr bwMode="auto">
          <a:xfrm>
            <a:off x="750844" y="3780070"/>
            <a:ext cx="554639"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40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2.</a:t>
            </a:r>
          </a:p>
        </p:txBody>
      </p:sp>
      <p:sp>
        <p:nvSpPr>
          <p:cNvPr id="35" name="TextBox 34">
            <a:extLst>
              <a:ext uri="{FF2B5EF4-FFF2-40B4-BE49-F238E27FC236}">
                <a16:creationId xmlns:a16="http://schemas.microsoft.com/office/drawing/2014/main" id="{CB31BCFE-2234-D059-05D9-56A377FD26B4}"/>
              </a:ext>
            </a:extLst>
          </p:cNvPr>
          <p:cNvSpPr txBox="1"/>
          <p:nvPr/>
        </p:nvSpPr>
        <p:spPr bwMode="auto">
          <a:xfrm>
            <a:off x="750844" y="4296298"/>
            <a:ext cx="554639"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lang="en-GB" sz="1400" i="1" spc="0" dirty="0">
                <a:solidFill>
                  <a:schemeClr val="accent1">
                    <a:lumMod val="50000"/>
                  </a:schemeClr>
                </a:solidFill>
              </a:rPr>
              <a:t>3</a:t>
            </a:r>
            <a:r>
              <a:rPr kumimoji="0" lang="en-GB" sz="140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a:t>
            </a:r>
          </a:p>
        </p:txBody>
      </p:sp>
      <p:sp>
        <p:nvSpPr>
          <p:cNvPr id="36" name="TextBox 35">
            <a:extLst>
              <a:ext uri="{FF2B5EF4-FFF2-40B4-BE49-F238E27FC236}">
                <a16:creationId xmlns:a16="http://schemas.microsoft.com/office/drawing/2014/main" id="{6F6F39B5-D277-084A-4260-D20298AF6EEE}"/>
              </a:ext>
            </a:extLst>
          </p:cNvPr>
          <p:cNvSpPr txBox="1"/>
          <p:nvPr/>
        </p:nvSpPr>
        <p:spPr bwMode="auto">
          <a:xfrm>
            <a:off x="750844" y="4812526"/>
            <a:ext cx="554639"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lang="en-GB" sz="1400" i="1" spc="0" dirty="0">
                <a:solidFill>
                  <a:schemeClr val="accent1">
                    <a:lumMod val="50000"/>
                  </a:schemeClr>
                </a:solidFill>
              </a:rPr>
              <a:t>4</a:t>
            </a:r>
            <a:r>
              <a:rPr kumimoji="0" lang="en-GB" sz="140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a:t>
            </a:r>
          </a:p>
        </p:txBody>
      </p:sp>
      <p:sp>
        <p:nvSpPr>
          <p:cNvPr id="37" name="TextBox 36">
            <a:extLst>
              <a:ext uri="{FF2B5EF4-FFF2-40B4-BE49-F238E27FC236}">
                <a16:creationId xmlns:a16="http://schemas.microsoft.com/office/drawing/2014/main" id="{814A46EC-B0E3-2491-94D1-F01BCC7180B1}"/>
              </a:ext>
            </a:extLst>
          </p:cNvPr>
          <p:cNvSpPr txBox="1"/>
          <p:nvPr/>
        </p:nvSpPr>
        <p:spPr bwMode="auto">
          <a:xfrm>
            <a:off x="750844" y="5328754"/>
            <a:ext cx="554639"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lang="en-GB" sz="1400" i="1" spc="0" dirty="0">
                <a:solidFill>
                  <a:schemeClr val="accent1">
                    <a:lumMod val="50000"/>
                  </a:schemeClr>
                </a:solidFill>
              </a:rPr>
              <a:t>5</a:t>
            </a:r>
            <a:r>
              <a:rPr kumimoji="0" lang="en-GB" sz="140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a:t>
            </a:r>
          </a:p>
        </p:txBody>
      </p:sp>
      <p:sp>
        <p:nvSpPr>
          <p:cNvPr id="38" name="TextBox 37">
            <a:extLst>
              <a:ext uri="{FF2B5EF4-FFF2-40B4-BE49-F238E27FC236}">
                <a16:creationId xmlns:a16="http://schemas.microsoft.com/office/drawing/2014/main" id="{82460426-1A37-921F-7878-549CDFA7BE15}"/>
              </a:ext>
            </a:extLst>
          </p:cNvPr>
          <p:cNvSpPr txBox="1"/>
          <p:nvPr/>
        </p:nvSpPr>
        <p:spPr bwMode="auto">
          <a:xfrm>
            <a:off x="750844" y="5844983"/>
            <a:ext cx="554639"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lang="en-GB" sz="1400" i="1" spc="0" dirty="0">
                <a:solidFill>
                  <a:schemeClr val="accent1">
                    <a:lumMod val="50000"/>
                  </a:schemeClr>
                </a:solidFill>
              </a:rPr>
              <a:t>6</a:t>
            </a:r>
            <a:r>
              <a:rPr kumimoji="0" lang="en-GB" sz="140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a:t>
            </a:r>
          </a:p>
        </p:txBody>
      </p:sp>
      <p:sp>
        <p:nvSpPr>
          <p:cNvPr id="40" name="Rectangle 39">
            <a:extLst>
              <a:ext uri="{FF2B5EF4-FFF2-40B4-BE49-F238E27FC236}">
                <a16:creationId xmlns:a16="http://schemas.microsoft.com/office/drawing/2014/main" id="{13BFF4AF-D2E5-027B-8F92-087F44C08195}"/>
              </a:ext>
            </a:extLst>
          </p:cNvPr>
          <p:cNvSpPr/>
          <p:nvPr/>
        </p:nvSpPr>
        <p:spPr>
          <a:xfrm>
            <a:off x="4939553" y="1651182"/>
            <a:ext cx="2017059" cy="4376160"/>
          </a:xfrm>
          <a:prstGeom prst="rect">
            <a:avLst/>
          </a:prstGeom>
          <a:solidFill>
            <a:schemeClr val="accent5"/>
          </a:solidFill>
          <a:ln w="28575">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41" name="Rectangle 40">
            <a:extLst>
              <a:ext uri="{FF2B5EF4-FFF2-40B4-BE49-F238E27FC236}">
                <a16:creationId xmlns:a16="http://schemas.microsoft.com/office/drawing/2014/main" id="{84325679-852E-9307-FA6B-2DDA89512835}"/>
              </a:ext>
            </a:extLst>
          </p:cNvPr>
          <p:cNvSpPr/>
          <p:nvPr/>
        </p:nvSpPr>
        <p:spPr>
          <a:xfrm>
            <a:off x="7170277" y="1651180"/>
            <a:ext cx="2017059" cy="4376160"/>
          </a:xfrm>
          <a:prstGeom prst="rect">
            <a:avLst/>
          </a:prstGeom>
          <a:pattFill prst="wdUpDiag">
            <a:fgClr>
              <a:schemeClr val="accent2"/>
            </a:fgClr>
            <a:bgClr>
              <a:schemeClr val="bg1"/>
            </a:bgClr>
          </a:patt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42" name="Rectangle 41">
            <a:extLst>
              <a:ext uri="{FF2B5EF4-FFF2-40B4-BE49-F238E27FC236}">
                <a16:creationId xmlns:a16="http://schemas.microsoft.com/office/drawing/2014/main" id="{A6DB1820-93BD-013D-543E-5ED9AE2D8473}"/>
              </a:ext>
            </a:extLst>
          </p:cNvPr>
          <p:cNvSpPr/>
          <p:nvPr/>
        </p:nvSpPr>
        <p:spPr>
          <a:xfrm>
            <a:off x="9414099" y="1651180"/>
            <a:ext cx="2017059" cy="4376163"/>
          </a:xfrm>
          <a:prstGeom prst="rect">
            <a:avLst/>
          </a:prstGeom>
          <a:solidFill>
            <a:schemeClr val="accent4"/>
          </a:solidFill>
          <a:ln w="28575">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Audit Authority</a:t>
            </a:r>
          </a:p>
        </p:txBody>
      </p:sp>
      <p:sp>
        <p:nvSpPr>
          <p:cNvPr id="20" name="Rectangle 19">
            <a:extLst>
              <a:ext uri="{FF2B5EF4-FFF2-40B4-BE49-F238E27FC236}">
                <a16:creationId xmlns:a16="http://schemas.microsoft.com/office/drawing/2014/main" id="{C44094E4-99B1-0622-9C04-2E34B06ED91F}"/>
              </a:ext>
            </a:extLst>
          </p:cNvPr>
          <p:cNvSpPr/>
          <p:nvPr/>
        </p:nvSpPr>
        <p:spPr>
          <a:xfrm>
            <a:off x="9414098" y="2973672"/>
            <a:ext cx="2017059" cy="2506401"/>
          </a:xfrm>
          <a:prstGeom prst="rect">
            <a:avLst/>
          </a:prstGeom>
          <a:pattFill prst="wdUpDiag">
            <a:fgClr>
              <a:schemeClr val="accent4"/>
            </a:fgClr>
            <a:bgClr>
              <a:schemeClr val="bg1"/>
            </a:bgClr>
          </a:pattFill>
          <a:ln w="28575">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31C7E54A-5AB4-DC17-8B5E-ED4327189806}"/>
              </a:ext>
            </a:extLst>
          </p:cNvPr>
          <p:cNvSpPr/>
          <p:nvPr/>
        </p:nvSpPr>
        <p:spPr>
          <a:xfrm>
            <a:off x="4939552" y="5544198"/>
            <a:ext cx="2017059" cy="485239"/>
          </a:xfrm>
          <a:prstGeom prst="rect">
            <a:avLst/>
          </a:prstGeom>
          <a:pattFill prst="wdUpDiag">
            <a:fgClr>
              <a:schemeClr val="accent5"/>
            </a:fgClr>
            <a:bgClr>
              <a:schemeClr val="bg1"/>
            </a:bgClr>
          </a:pattFill>
          <a:ln w="28575">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420EAFB9-F942-1AB4-A88E-3AC7DF3C3E62}"/>
              </a:ext>
            </a:extLst>
          </p:cNvPr>
          <p:cNvSpPr/>
          <p:nvPr/>
        </p:nvSpPr>
        <p:spPr>
          <a:xfrm>
            <a:off x="4939551" y="1268460"/>
            <a:ext cx="2017059" cy="277977"/>
          </a:xfrm>
          <a:prstGeom prst="rect">
            <a:avLst/>
          </a:prstGeom>
          <a:solidFill>
            <a:schemeClr val="accent5"/>
          </a:solidFill>
          <a:ln w="28575">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Managing Authority</a:t>
            </a:r>
          </a:p>
        </p:txBody>
      </p:sp>
      <p:sp>
        <p:nvSpPr>
          <p:cNvPr id="24" name="Rectangle 23">
            <a:extLst>
              <a:ext uri="{FF2B5EF4-FFF2-40B4-BE49-F238E27FC236}">
                <a16:creationId xmlns:a16="http://schemas.microsoft.com/office/drawing/2014/main" id="{62F9C24F-CD8B-DC8C-C4FF-05D5A19B188D}"/>
              </a:ext>
            </a:extLst>
          </p:cNvPr>
          <p:cNvSpPr/>
          <p:nvPr/>
        </p:nvSpPr>
        <p:spPr>
          <a:xfrm>
            <a:off x="7170277" y="1263662"/>
            <a:ext cx="2017059" cy="277977"/>
          </a:xfrm>
          <a:prstGeom prst="rect">
            <a:avLst/>
          </a:prstGeom>
          <a:solidFill>
            <a:schemeClr val="accent2"/>
          </a:solidFill>
          <a:ln w="28575">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Intermediate Bodies</a:t>
            </a:r>
          </a:p>
        </p:txBody>
      </p:sp>
      <p:sp>
        <p:nvSpPr>
          <p:cNvPr id="25" name="Rectangle 24">
            <a:extLst>
              <a:ext uri="{FF2B5EF4-FFF2-40B4-BE49-F238E27FC236}">
                <a16:creationId xmlns:a16="http://schemas.microsoft.com/office/drawing/2014/main" id="{8C798503-85F8-73A2-DFEC-7849BA924FAD}"/>
              </a:ext>
            </a:extLst>
          </p:cNvPr>
          <p:cNvSpPr/>
          <p:nvPr/>
        </p:nvSpPr>
        <p:spPr>
          <a:xfrm>
            <a:off x="9414098" y="1261437"/>
            <a:ext cx="2017059" cy="277977"/>
          </a:xfrm>
          <a:prstGeom prst="rect">
            <a:avLst/>
          </a:prstGeom>
          <a:solidFill>
            <a:schemeClr val="accent4"/>
          </a:solidFill>
          <a:ln w="28575">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Audit Authority</a:t>
            </a:r>
          </a:p>
        </p:txBody>
      </p:sp>
      <p:sp>
        <p:nvSpPr>
          <p:cNvPr id="26" name="TextBox 25">
            <a:extLst>
              <a:ext uri="{FF2B5EF4-FFF2-40B4-BE49-F238E27FC236}">
                <a16:creationId xmlns:a16="http://schemas.microsoft.com/office/drawing/2014/main" id="{AB0719BB-9EF6-29C3-0FD8-07E3E5419BBB}"/>
              </a:ext>
            </a:extLst>
          </p:cNvPr>
          <p:cNvSpPr txBox="1"/>
          <p:nvPr/>
        </p:nvSpPr>
        <p:spPr bwMode="auto">
          <a:xfrm>
            <a:off x="974070" y="6128989"/>
            <a:ext cx="8880049" cy="64633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ctr" defTabSz="457200" rtl="0" eaLnBrk="0" fontAlgn="base" latinLnBrk="0" hangingPunct="0">
              <a:spcBef>
                <a:spcPct val="0"/>
              </a:spcBef>
              <a:buClrTx/>
              <a:buSzTx/>
              <a:tabLst/>
            </a:pPr>
            <a:r>
              <a:rPr lang="en-GB" sz="1400" b="1" i="1" spc="0" dirty="0"/>
              <a:t>This highly depends on the programme’s organisation and level of information centralisation: the MA will be able to indicate what bodies should participate on what parts depending on their own organisation!</a:t>
            </a:r>
            <a:endParaRPr kumimoji="0" lang="en-GB" sz="1400" b="1" i="1" u="none" strike="noStrike" kern="1200" cap="none" spc="0" normalizeH="0" baseline="0" noProof="0" dirty="0" err="1">
              <a:ln>
                <a:noFill/>
              </a:ln>
              <a:solidFill>
                <a:schemeClr val="tx1"/>
              </a:solidFill>
              <a:effectLst/>
              <a:uLnTx/>
              <a:uFillTx/>
              <a:latin typeface="Verdana"/>
              <a:ea typeface="Verdana" pitchFamily="34" charset="0"/>
              <a:cs typeface="Verdana" pitchFamily="34" charset="0"/>
            </a:endParaRPr>
          </a:p>
        </p:txBody>
      </p:sp>
      <p:sp>
        <p:nvSpPr>
          <p:cNvPr id="7" name="Action Button: Go to Beginning 6">
            <a:hlinkClick r:id="rId3" action="ppaction://hlinksldjump" highlightClick="1"/>
            <a:extLst>
              <a:ext uri="{FF2B5EF4-FFF2-40B4-BE49-F238E27FC236}">
                <a16:creationId xmlns:a16="http://schemas.microsoft.com/office/drawing/2014/main" id="{4BDD66AA-421B-17DA-53C7-1107084E250F}"/>
              </a:ext>
            </a:extLst>
          </p:cNvPr>
          <p:cNvSpPr/>
          <p:nvPr/>
        </p:nvSpPr>
        <p:spPr>
          <a:xfrm>
            <a:off x="11215991" y="6352162"/>
            <a:ext cx="778213" cy="398834"/>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BE" sz="2000" err="1"/>
          </a:p>
        </p:txBody>
      </p:sp>
      <p:sp>
        <p:nvSpPr>
          <p:cNvPr id="21" name="TextBox 20">
            <a:extLst>
              <a:ext uri="{FF2B5EF4-FFF2-40B4-BE49-F238E27FC236}">
                <a16:creationId xmlns:a16="http://schemas.microsoft.com/office/drawing/2014/main" id="{570FD293-CAFC-A3A8-7135-7CF6C7318884}"/>
              </a:ext>
            </a:extLst>
          </p:cNvPr>
          <p:cNvSpPr txBox="1"/>
          <p:nvPr/>
        </p:nvSpPr>
        <p:spPr bwMode="auto">
          <a:xfrm>
            <a:off x="10437778" y="6397690"/>
            <a:ext cx="778213" cy="3077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fr-FR" sz="1000" b="0" i="1" u="none" strike="noStrike" kern="1200" cap="none" spc="0" normalizeH="0" baseline="0" noProof="0">
                <a:ln>
                  <a:noFill/>
                </a:ln>
                <a:solidFill>
                  <a:schemeClr val="tx2"/>
                </a:solidFill>
                <a:effectLst/>
                <a:uLnTx/>
                <a:uFillTx/>
                <a:latin typeface="Verdana"/>
                <a:ea typeface="Verdana" pitchFamily="34" charset="0"/>
                <a:cs typeface="Verdana" pitchFamily="34" charset="0"/>
              </a:rPr>
              <a:t>Go to table of content</a:t>
            </a:r>
            <a:endParaRPr kumimoji="0" lang="nl-BE" sz="1000" b="0" i="1" u="none" strike="noStrike" kern="1200" cap="none" spc="0" normalizeH="0" baseline="0" noProof="0" err="1">
              <a:ln>
                <a:noFill/>
              </a:ln>
              <a:solidFill>
                <a:schemeClr val="tx2"/>
              </a:solidFill>
              <a:effectLst/>
              <a:uLnTx/>
              <a:uFillTx/>
              <a:latin typeface="Verdana"/>
              <a:ea typeface="Verdana" pitchFamily="34" charset="0"/>
              <a:cs typeface="Verdana" pitchFamily="34" charset="0"/>
            </a:endParaRPr>
          </a:p>
        </p:txBody>
      </p:sp>
    </p:spTree>
    <p:extLst>
      <p:ext uri="{BB962C8B-B14F-4D97-AF65-F5344CB8AC3E}">
        <p14:creationId xmlns:p14="http://schemas.microsoft.com/office/powerpoint/2010/main" val="5584285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2767DA1-8B40-0CFA-BF01-E288E55F3493}"/>
              </a:ext>
            </a:extLst>
          </p:cNvPr>
          <p:cNvSpPr/>
          <p:nvPr/>
        </p:nvSpPr>
        <p:spPr>
          <a:xfrm>
            <a:off x="0" y="0"/>
            <a:ext cx="12190413" cy="1066800"/>
          </a:xfrm>
          <a:prstGeom prst="rect">
            <a:avLst/>
          </a:prstGeom>
          <a:solidFill>
            <a:schemeClr val="accent1">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96000" lvl="2" indent="0">
              <a:buNone/>
            </a:pPr>
            <a:r>
              <a:rPr lang="en-GB" sz="2600" b="1" dirty="0">
                <a:latin typeface="Gotham Rounded Light" pitchFamily="50" charset="0"/>
              </a:rPr>
              <a:t>Background (excl. ETC-Interreg)</a:t>
            </a:r>
          </a:p>
        </p:txBody>
      </p:sp>
      <p:pic>
        <p:nvPicPr>
          <p:cNvPr id="5" name="Picture 4">
            <a:extLst>
              <a:ext uri="{FF2B5EF4-FFF2-40B4-BE49-F238E27FC236}">
                <a16:creationId xmlns:a16="http://schemas.microsoft.com/office/drawing/2014/main" id="{2A5B7CA6-2DDE-BA40-9A4C-E03E94DD61F7}"/>
              </a:ext>
            </a:extLst>
          </p:cNvPr>
          <p:cNvPicPr>
            <a:picLocks noChangeAspect="1"/>
          </p:cNvPicPr>
          <p:nvPr/>
        </p:nvPicPr>
        <p:blipFill>
          <a:blip r:embed="rId2"/>
          <a:stretch>
            <a:fillRect/>
          </a:stretch>
        </p:blipFill>
        <p:spPr>
          <a:xfrm>
            <a:off x="898560" y="2275775"/>
            <a:ext cx="10056057" cy="4178968"/>
          </a:xfrm>
          <a:prstGeom prst="rect">
            <a:avLst/>
          </a:prstGeom>
        </p:spPr>
      </p:pic>
      <p:cxnSp>
        <p:nvCxnSpPr>
          <p:cNvPr id="8" name="Straight Arrow Connector 7">
            <a:extLst>
              <a:ext uri="{FF2B5EF4-FFF2-40B4-BE49-F238E27FC236}">
                <a16:creationId xmlns:a16="http://schemas.microsoft.com/office/drawing/2014/main" id="{B219DD02-35ED-FB39-68C4-7010A2BABD3F}"/>
              </a:ext>
            </a:extLst>
          </p:cNvPr>
          <p:cNvCxnSpPr>
            <a:cxnSpLocks/>
          </p:cNvCxnSpPr>
          <p:nvPr/>
        </p:nvCxnSpPr>
        <p:spPr>
          <a:xfrm>
            <a:off x="3760779" y="1912469"/>
            <a:ext cx="0" cy="1001588"/>
          </a:xfrm>
          <a:prstGeom prst="straightConnector1">
            <a:avLst/>
          </a:prstGeom>
          <a:ln w="571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28D89933-DF31-9354-06F7-C9226857453C}"/>
              </a:ext>
            </a:extLst>
          </p:cNvPr>
          <p:cNvSpPr txBox="1"/>
          <p:nvPr/>
        </p:nvSpPr>
        <p:spPr bwMode="auto">
          <a:xfrm>
            <a:off x="3146417" y="1598144"/>
            <a:ext cx="1242328" cy="215444"/>
          </a:xfrm>
          <a:prstGeom prst="rect">
            <a:avLst/>
          </a:prstGeom>
          <a:noFill/>
          <a:ln w="9525">
            <a:noFill/>
            <a:miter lim="800000"/>
            <a:headEnd/>
            <a:tailEnd/>
          </a:ln>
          <a:effectLst/>
        </p:spPr>
        <p:txBody>
          <a:bodyPr vert="horz" wrap="non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400" b="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Select the MS</a:t>
            </a:r>
          </a:p>
        </p:txBody>
      </p:sp>
      <p:cxnSp>
        <p:nvCxnSpPr>
          <p:cNvPr id="15" name="Straight Arrow Connector 14">
            <a:extLst>
              <a:ext uri="{FF2B5EF4-FFF2-40B4-BE49-F238E27FC236}">
                <a16:creationId xmlns:a16="http://schemas.microsoft.com/office/drawing/2014/main" id="{D8EFA685-300D-5608-BD7D-BD1DF283CB26}"/>
              </a:ext>
            </a:extLst>
          </p:cNvPr>
          <p:cNvCxnSpPr>
            <a:cxnSpLocks/>
          </p:cNvCxnSpPr>
          <p:nvPr/>
        </p:nvCxnSpPr>
        <p:spPr>
          <a:xfrm>
            <a:off x="5336627" y="2182024"/>
            <a:ext cx="0" cy="1211138"/>
          </a:xfrm>
          <a:prstGeom prst="straightConnector1">
            <a:avLst/>
          </a:prstGeom>
          <a:ln w="571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30264623-AA66-2557-7B23-E35E0C57E7EE}"/>
              </a:ext>
            </a:extLst>
          </p:cNvPr>
          <p:cNvSpPr txBox="1"/>
          <p:nvPr/>
        </p:nvSpPr>
        <p:spPr bwMode="auto">
          <a:xfrm>
            <a:off x="4384676" y="1890809"/>
            <a:ext cx="2016578" cy="215444"/>
          </a:xfrm>
          <a:prstGeom prst="rect">
            <a:avLst/>
          </a:prstGeom>
          <a:noFill/>
          <a:ln w="9525">
            <a:noFill/>
            <a:miter lim="800000"/>
            <a:headEnd/>
            <a:tailEnd/>
          </a:ln>
          <a:effectLst/>
        </p:spPr>
        <p:txBody>
          <a:bodyPr vert="horz" wrap="non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400" b="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Select the Programme</a:t>
            </a:r>
          </a:p>
        </p:txBody>
      </p:sp>
      <p:cxnSp>
        <p:nvCxnSpPr>
          <p:cNvPr id="20" name="Straight Arrow Connector 19">
            <a:extLst>
              <a:ext uri="{FF2B5EF4-FFF2-40B4-BE49-F238E27FC236}">
                <a16:creationId xmlns:a16="http://schemas.microsoft.com/office/drawing/2014/main" id="{52948876-2002-A4A0-BB4A-5F980C39AE28}"/>
              </a:ext>
            </a:extLst>
          </p:cNvPr>
          <p:cNvCxnSpPr>
            <a:cxnSpLocks/>
          </p:cNvCxnSpPr>
          <p:nvPr/>
        </p:nvCxnSpPr>
        <p:spPr>
          <a:xfrm>
            <a:off x="7805737" y="1803985"/>
            <a:ext cx="0" cy="1001588"/>
          </a:xfrm>
          <a:prstGeom prst="straightConnector1">
            <a:avLst/>
          </a:prstGeom>
          <a:ln w="57150">
            <a:solidFill>
              <a:schemeClr val="accent4">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A3147478-0FC2-2903-1B76-D2B899555232}"/>
              </a:ext>
            </a:extLst>
          </p:cNvPr>
          <p:cNvSpPr txBox="1"/>
          <p:nvPr/>
        </p:nvSpPr>
        <p:spPr bwMode="auto">
          <a:xfrm>
            <a:off x="6909658" y="1511426"/>
            <a:ext cx="1792157"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lang="en-GB" sz="1400" i="1" spc="0" dirty="0">
                <a:solidFill>
                  <a:schemeClr val="accent4"/>
                </a:solidFill>
              </a:rPr>
              <a:t>Filled automatically</a:t>
            </a:r>
            <a:endParaRPr kumimoji="0" lang="en-GB" sz="1400" b="0" i="1" u="none" strike="noStrike" kern="1200" cap="none" spc="0" normalizeH="0" baseline="0" noProof="0" dirty="0">
              <a:ln>
                <a:noFill/>
              </a:ln>
              <a:solidFill>
                <a:schemeClr val="accent4"/>
              </a:solidFill>
              <a:effectLst/>
              <a:uLnTx/>
              <a:uFillTx/>
              <a:latin typeface="Verdana"/>
              <a:ea typeface="Verdana" pitchFamily="34" charset="0"/>
              <a:cs typeface="Verdana" pitchFamily="34" charset="0"/>
            </a:endParaRPr>
          </a:p>
        </p:txBody>
      </p:sp>
      <p:sp>
        <p:nvSpPr>
          <p:cNvPr id="23" name="TextBox 22">
            <a:extLst>
              <a:ext uri="{FF2B5EF4-FFF2-40B4-BE49-F238E27FC236}">
                <a16:creationId xmlns:a16="http://schemas.microsoft.com/office/drawing/2014/main" id="{ED3E7620-47AD-6AA1-CF90-527E1ED1D5DE}"/>
              </a:ext>
            </a:extLst>
          </p:cNvPr>
          <p:cNvSpPr txBox="1"/>
          <p:nvPr/>
        </p:nvSpPr>
        <p:spPr bwMode="auto">
          <a:xfrm>
            <a:off x="4990306" y="5600859"/>
            <a:ext cx="2334419" cy="61555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lang="en-GB" sz="2000" i="1" spc="0" dirty="0">
                <a:solidFill>
                  <a:schemeClr val="accent4"/>
                </a:solidFill>
              </a:rPr>
              <a:t>Filled automatically</a:t>
            </a:r>
            <a:endParaRPr kumimoji="0" lang="en-GB" sz="2000" b="0" i="1" u="none" strike="noStrike" kern="1200" cap="none" spc="0" normalizeH="0" baseline="0" noProof="0" dirty="0">
              <a:ln>
                <a:noFill/>
              </a:ln>
              <a:solidFill>
                <a:schemeClr val="accent4"/>
              </a:solidFill>
              <a:effectLst/>
              <a:uLnTx/>
              <a:uFillTx/>
              <a:latin typeface="Verdana"/>
              <a:ea typeface="Verdana" pitchFamily="34" charset="0"/>
              <a:cs typeface="Verdana" pitchFamily="34" charset="0"/>
            </a:endParaRPr>
          </a:p>
        </p:txBody>
      </p:sp>
      <p:sp>
        <p:nvSpPr>
          <p:cNvPr id="25" name="Rectangle 24">
            <a:extLst>
              <a:ext uri="{FF2B5EF4-FFF2-40B4-BE49-F238E27FC236}">
                <a16:creationId xmlns:a16="http://schemas.microsoft.com/office/drawing/2014/main" id="{A53F15F1-8E8D-4441-53E8-0366A8AD0B6C}"/>
              </a:ext>
            </a:extLst>
          </p:cNvPr>
          <p:cNvSpPr/>
          <p:nvPr/>
        </p:nvSpPr>
        <p:spPr>
          <a:xfrm>
            <a:off x="971550" y="4276025"/>
            <a:ext cx="9983065" cy="2178718"/>
          </a:xfrm>
          <a:prstGeom prst="rect">
            <a:avLst/>
          </a:prstGeom>
          <a:noFill/>
          <a:ln w="38100">
            <a:solidFill>
              <a:schemeClr val="accent4">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 name="Action Button: Go to Beginning 1">
            <a:hlinkClick r:id="rId3" action="ppaction://hlinksldjump" highlightClick="1"/>
            <a:extLst>
              <a:ext uri="{FF2B5EF4-FFF2-40B4-BE49-F238E27FC236}">
                <a16:creationId xmlns:a16="http://schemas.microsoft.com/office/drawing/2014/main" id="{DF9AAE90-99B3-EDCF-1210-DE3F52D2D8B0}"/>
              </a:ext>
            </a:extLst>
          </p:cNvPr>
          <p:cNvSpPr/>
          <p:nvPr/>
        </p:nvSpPr>
        <p:spPr>
          <a:xfrm>
            <a:off x="11215991" y="6352162"/>
            <a:ext cx="778213" cy="398834"/>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BE" sz="2000" err="1"/>
          </a:p>
        </p:txBody>
      </p:sp>
      <p:sp>
        <p:nvSpPr>
          <p:cNvPr id="3" name="TextBox 2">
            <a:extLst>
              <a:ext uri="{FF2B5EF4-FFF2-40B4-BE49-F238E27FC236}">
                <a16:creationId xmlns:a16="http://schemas.microsoft.com/office/drawing/2014/main" id="{BD649C80-F601-3B01-C495-FB1244651296}"/>
              </a:ext>
            </a:extLst>
          </p:cNvPr>
          <p:cNvSpPr txBox="1"/>
          <p:nvPr/>
        </p:nvSpPr>
        <p:spPr bwMode="auto">
          <a:xfrm>
            <a:off x="11291853" y="6001051"/>
            <a:ext cx="778213" cy="3077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fr-FR" sz="1000" b="0" i="1" u="none" strike="noStrike" kern="1200" cap="none" spc="0" normalizeH="0" baseline="0" noProof="0">
                <a:ln>
                  <a:noFill/>
                </a:ln>
                <a:solidFill>
                  <a:schemeClr val="tx2"/>
                </a:solidFill>
                <a:effectLst/>
                <a:uLnTx/>
                <a:uFillTx/>
                <a:latin typeface="Verdana"/>
                <a:ea typeface="Verdana" pitchFamily="34" charset="0"/>
                <a:cs typeface="Verdana" pitchFamily="34" charset="0"/>
              </a:rPr>
              <a:t>Go to table of content</a:t>
            </a:r>
            <a:endParaRPr kumimoji="0" lang="nl-BE" sz="1000" b="0" i="1" u="none" strike="noStrike" kern="1200" cap="none" spc="0" normalizeH="0" baseline="0" noProof="0" err="1">
              <a:ln>
                <a:noFill/>
              </a:ln>
              <a:solidFill>
                <a:schemeClr val="tx2"/>
              </a:solidFill>
              <a:effectLst/>
              <a:uLnTx/>
              <a:uFillTx/>
              <a:latin typeface="Verdana"/>
              <a:ea typeface="Verdana" pitchFamily="34" charset="0"/>
              <a:cs typeface="Verdana" pitchFamily="34" charset="0"/>
            </a:endParaRPr>
          </a:p>
        </p:txBody>
      </p:sp>
    </p:spTree>
    <p:extLst>
      <p:ext uri="{BB962C8B-B14F-4D97-AF65-F5344CB8AC3E}">
        <p14:creationId xmlns:p14="http://schemas.microsoft.com/office/powerpoint/2010/main" val="28269967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2767DA1-8B40-0CFA-BF01-E288E55F3493}"/>
              </a:ext>
            </a:extLst>
          </p:cNvPr>
          <p:cNvSpPr/>
          <p:nvPr/>
        </p:nvSpPr>
        <p:spPr>
          <a:xfrm>
            <a:off x="0" y="0"/>
            <a:ext cx="12190413" cy="1066800"/>
          </a:xfrm>
          <a:prstGeom prst="rect">
            <a:avLst/>
          </a:prstGeom>
          <a:solidFill>
            <a:schemeClr val="accent1">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96000" lvl="2" indent="0">
              <a:buNone/>
            </a:pPr>
            <a:r>
              <a:rPr lang="en-GB" sz="2600" b="1" dirty="0">
                <a:latin typeface="Gotham Rounded Light" pitchFamily="50" charset="0"/>
              </a:rPr>
              <a:t>Background (ETC-Interreg)</a:t>
            </a:r>
          </a:p>
        </p:txBody>
      </p:sp>
      <p:sp>
        <p:nvSpPr>
          <p:cNvPr id="2" name="TextBox 1">
            <a:extLst>
              <a:ext uri="{FF2B5EF4-FFF2-40B4-BE49-F238E27FC236}">
                <a16:creationId xmlns:a16="http://schemas.microsoft.com/office/drawing/2014/main" id="{093BA951-E12A-3E85-7210-3DBAF461F2AD}"/>
              </a:ext>
            </a:extLst>
          </p:cNvPr>
          <p:cNvSpPr txBox="1"/>
          <p:nvPr/>
        </p:nvSpPr>
        <p:spPr bwMode="auto">
          <a:xfrm>
            <a:off x="466725" y="1214824"/>
            <a:ext cx="7696200" cy="276999"/>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800" b="1"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Part 1 – Background – ETC (Interreg Programmes)</a:t>
            </a:r>
          </a:p>
        </p:txBody>
      </p:sp>
      <p:pic>
        <p:nvPicPr>
          <p:cNvPr id="6" name="Picture 5">
            <a:extLst>
              <a:ext uri="{FF2B5EF4-FFF2-40B4-BE49-F238E27FC236}">
                <a16:creationId xmlns:a16="http://schemas.microsoft.com/office/drawing/2014/main" id="{60241775-8EE2-6E51-321D-C8C3861E98EC}"/>
              </a:ext>
            </a:extLst>
          </p:cNvPr>
          <p:cNvPicPr>
            <a:picLocks noChangeAspect="1"/>
          </p:cNvPicPr>
          <p:nvPr/>
        </p:nvPicPr>
        <p:blipFill>
          <a:blip r:embed="rId2"/>
          <a:stretch>
            <a:fillRect/>
          </a:stretch>
        </p:blipFill>
        <p:spPr>
          <a:xfrm>
            <a:off x="343082" y="3429794"/>
            <a:ext cx="11504248" cy="1687127"/>
          </a:xfrm>
          <a:prstGeom prst="rect">
            <a:avLst/>
          </a:prstGeom>
        </p:spPr>
      </p:pic>
      <p:cxnSp>
        <p:nvCxnSpPr>
          <p:cNvPr id="7" name="Straight Arrow Connector 6">
            <a:extLst>
              <a:ext uri="{FF2B5EF4-FFF2-40B4-BE49-F238E27FC236}">
                <a16:creationId xmlns:a16="http://schemas.microsoft.com/office/drawing/2014/main" id="{7ADE8BA8-D494-2CD6-2B7C-21D743477EDD}"/>
              </a:ext>
            </a:extLst>
          </p:cNvPr>
          <p:cNvCxnSpPr>
            <a:cxnSpLocks/>
          </p:cNvCxnSpPr>
          <p:nvPr/>
        </p:nvCxnSpPr>
        <p:spPr>
          <a:xfrm>
            <a:off x="3389304" y="2760194"/>
            <a:ext cx="0" cy="1001588"/>
          </a:xfrm>
          <a:prstGeom prst="straightConnector1">
            <a:avLst/>
          </a:prstGeom>
          <a:ln w="571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2E4208DD-DD5A-E016-E1D0-90309F3569AA}"/>
              </a:ext>
            </a:extLst>
          </p:cNvPr>
          <p:cNvSpPr txBox="1"/>
          <p:nvPr/>
        </p:nvSpPr>
        <p:spPr bwMode="auto">
          <a:xfrm>
            <a:off x="2907601" y="2478486"/>
            <a:ext cx="963405" cy="215444"/>
          </a:xfrm>
          <a:prstGeom prst="rect">
            <a:avLst/>
          </a:prstGeom>
          <a:noFill/>
          <a:ln w="9525">
            <a:noFill/>
            <a:miter lim="800000"/>
            <a:headEnd/>
            <a:tailEnd/>
          </a:ln>
          <a:effectLst/>
        </p:spPr>
        <p:txBody>
          <a:bodyPr vert="horz" wrap="non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400" b="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Select ETC</a:t>
            </a:r>
          </a:p>
        </p:txBody>
      </p:sp>
      <p:cxnSp>
        <p:nvCxnSpPr>
          <p:cNvPr id="10" name="Straight Arrow Connector 9">
            <a:extLst>
              <a:ext uri="{FF2B5EF4-FFF2-40B4-BE49-F238E27FC236}">
                <a16:creationId xmlns:a16="http://schemas.microsoft.com/office/drawing/2014/main" id="{AD0240D0-7011-6E62-868D-AC9122B4EA47}"/>
              </a:ext>
            </a:extLst>
          </p:cNvPr>
          <p:cNvCxnSpPr>
            <a:cxnSpLocks/>
          </p:cNvCxnSpPr>
          <p:nvPr/>
        </p:nvCxnSpPr>
        <p:spPr>
          <a:xfrm>
            <a:off x="9961554" y="2760194"/>
            <a:ext cx="0" cy="1001588"/>
          </a:xfrm>
          <a:prstGeom prst="straightConnector1">
            <a:avLst/>
          </a:prstGeom>
          <a:ln w="571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79238A75-183F-B735-82D3-DAA35F9EDF11}"/>
              </a:ext>
            </a:extLst>
          </p:cNvPr>
          <p:cNvSpPr txBox="1"/>
          <p:nvPr/>
        </p:nvSpPr>
        <p:spPr bwMode="auto">
          <a:xfrm>
            <a:off x="9087115" y="2478486"/>
            <a:ext cx="1748877" cy="215444"/>
          </a:xfrm>
          <a:prstGeom prst="rect">
            <a:avLst/>
          </a:prstGeom>
          <a:noFill/>
          <a:ln w="9525">
            <a:noFill/>
            <a:miter lim="800000"/>
            <a:headEnd/>
            <a:tailEnd/>
          </a:ln>
          <a:effectLst/>
        </p:spPr>
        <p:txBody>
          <a:bodyPr vert="horz" wrap="non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400" b="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Select the currency</a:t>
            </a:r>
          </a:p>
        </p:txBody>
      </p:sp>
      <p:cxnSp>
        <p:nvCxnSpPr>
          <p:cNvPr id="12" name="Straight Arrow Connector 11">
            <a:extLst>
              <a:ext uri="{FF2B5EF4-FFF2-40B4-BE49-F238E27FC236}">
                <a16:creationId xmlns:a16="http://schemas.microsoft.com/office/drawing/2014/main" id="{60253CB1-2ECC-F91F-CF25-CA9B0F9EDC47}"/>
              </a:ext>
            </a:extLst>
          </p:cNvPr>
          <p:cNvCxnSpPr>
            <a:cxnSpLocks/>
          </p:cNvCxnSpPr>
          <p:nvPr/>
        </p:nvCxnSpPr>
        <p:spPr>
          <a:xfrm>
            <a:off x="7822652" y="3156213"/>
            <a:ext cx="0" cy="1211138"/>
          </a:xfrm>
          <a:prstGeom prst="straightConnector1">
            <a:avLst/>
          </a:prstGeom>
          <a:ln w="571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F7A9371D-1133-24EE-C8B3-D629C3C42443}"/>
              </a:ext>
            </a:extLst>
          </p:cNvPr>
          <p:cNvSpPr txBox="1"/>
          <p:nvPr/>
        </p:nvSpPr>
        <p:spPr bwMode="auto">
          <a:xfrm>
            <a:off x="6870701" y="2864998"/>
            <a:ext cx="2016578" cy="215444"/>
          </a:xfrm>
          <a:prstGeom prst="rect">
            <a:avLst/>
          </a:prstGeom>
          <a:noFill/>
          <a:ln w="9525">
            <a:noFill/>
            <a:miter lim="800000"/>
            <a:headEnd/>
            <a:tailEnd/>
          </a:ln>
          <a:effectLst/>
        </p:spPr>
        <p:txBody>
          <a:bodyPr vert="horz" wrap="non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400" b="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Select the Programme</a:t>
            </a:r>
          </a:p>
        </p:txBody>
      </p:sp>
      <p:sp>
        <p:nvSpPr>
          <p:cNvPr id="3" name="Action Button: Go to Beginning 2">
            <a:hlinkClick r:id="rId3" action="ppaction://hlinksldjump" highlightClick="1"/>
            <a:extLst>
              <a:ext uri="{FF2B5EF4-FFF2-40B4-BE49-F238E27FC236}">
                <a16:creationId xmlns:a16="http://schemas.microsoft.com/office/drawing/2014/main" id="{50DC5C03-5C90-BFF1-CE8C-051AD5B700FD}"/>
              </a:ext>
            </a:extLst>
          </p:cNvPr>
          <p:cNvSpPr/>
          <p:nvPr/>
        </p:nvSpPr>
        <p:spPr>
          <a:xfrm>
            <a:off x="11215991" y="6352162"/>
            <a:ext cx="778213" cy="398834"/>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BE" sz="2000" err="1"/>
          </a:p>
        </p:txBody>
      </p:sp>
      <p:sp>
        <p:nvSpPr>
          <p:cNvPr id="5" name="TextBox 4">
            <a:extLst>
              <a:ext uri="{FF2B5EF4-FFF2-40B4-BE49-F238E27FC236}">
                <a16:creationId xmlns:a16="http://schemas.microsoft.com/office/drawing/2014/main" id="{397B3CE8-8477-AFC5-4576-670C0AF5A2D3}"/>
              </a:ext>
            </a:extLst>
          </p:cNvPr>
          <p:cNvSpPr txBox="1"/>
          <p:nvPr/>
        </p:nvSpPr>
        <p:spPr bwMode="auto">
          <a:xfrm>
            <a:off x="10437778" y="6397690"/>
            <a:ext cx="778213" cy="3077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fr-FR" sz="1000" b="0" i="1" u="none" strike="noStrike" kern="1200" cap="none" spc="0" normalizeH="0" baseline="0" noProof="0">
                <a:ln>
                  <a:noFill/>
                </a:ln>
                <a:solidFill>
                  <a:schemeClr val="tx2"/>
                </a:solidFill>
                <a:effectLst/>
                <a:uLnTx/>
                <a:uFillTx/>
                <a:latin typeface="Verdana"/>
                <a:ea typeface="Verdana" pitchFamily="34" charset="0"/>
                <a:cs typeface="Verdana" pitchFamily="34" charset="0"/>
              </a:rPr>
              <a:t>Go to table of content</a:t>
            </a:r>
            <a:endParaRPr kumimoji="0" lang="nl-BE" sz="1000" b="0" i="1" u="none" strike="noStrike" kern="1200" cap="none" spc="0" normalizeH="0" baseline="0" noProof="0" err="1">
              <a:ln>
                <a:noFill/>
              </a:ln>
              <a:solidFill>
                <a:schemeClr val="tx2"/>
              </a:solidFill>
              <a:effectLst/>
              <a:uLnTx/>
              <a:uFillTx/>
              <a:latin typeface="Verdana"/>
              <a:ea typeface="Verdana" pitchFamily="34" charset="0"/>
              <a:cs typeface="Verdana" pitchFamily="34" charset="0"/>
            </a:endParaRPr>
          </a:p>
        </p:txBody>
      </p:sp>
    </p:spTree>
    <p:extLst>
      <p:ext uri="{BB962C8B-B14F-4D97-AF65-F5344CB8AC3E}">
        <p14:creationId xmlns:p14="http://schemas.microsoft.com/office/powerpoint/2010/main" val="17073037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2767DA1-8B40-0CFA-BF01-E288E55F3493}"/>
              </a:ext>
            </a:extLst>
          </p:cNvPr>
          <p:cNvSpPr/>
          <p:nvPr/>
        </p:nvSpPr>
        <p:spPr>
          <a:xfrm>
            <a:off x="0" y="0"/>
            <a:ext cx="12190413" cy="1066800"/>
          </a:xfrm>
          <a:prstGeom prst="rect">
            <a:avLst/>
          </a:prstGeom>
          <a:solidFill>
            <a:schemeClr val="accent1">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96000" lvl="2" indent="0">
              <a:buNone/>
            </a:pPr>
            <a:r>
              <a:rPr lang="en-GB" sz="2600" b="1" dirty="0">
                <a:latin typeface="Gotham Rounded Light" pitchFamily="50" charset="0"/>
              </a:rPr>
              <a:t>Respondents &amp; Organisations </a:t>
            </a:r>
          </a:p>
        </p:txBody>
      </p:sp>
      <p:pic>
        <p:nvPicPr>
          <p:cNvPr id="6" name="Picture 5">
            <a:extLst>
              <a:ext uri="{FF2B5EF4-FFF2-40B4-BE49-F238E27FC236}">
                <a16:creationId xmlns:a16="http://schemas.microsoft.com/office/drawing/2014/main" id="{BDC5F301-586C-80D3-2299-DE9887858742}"/>
              </a:ext>
            </a:extLst>
          </p:cNvPr>
          <p:cNvPicPr>
            <a:picLocks noChangeAspect="1"/>
          </p:cNvPicPr>
          <p:nvPr/>
        </p:nvPicPr>
        <p:blipFill>
          <a:blip r:embed="rId3"/>
          <a:stretch>
            <a:fillRect/>
          </a:stretch>
        </p:blipFill>
        <p:spPr>
          <a:xfrm>
            <a:off x="337343" y="1639847"/>
            <a:ext cx="11515725" cy="2543175"/>
          </a:xfrm>
          <a:prstGeom prst="rect">
            <a:avLst/>
          </a:prstGeom>
        </p:spPr>
      </p:pic>
      <p:sp>
        <p:nvSpPr>
          <p:cNvPr id="7" name="Freeform: Shape 6">
            <a:extLst>
              <a:ext uri="{FF2B5EF4-FFF2-40B4-BE49-F238E27FC236}">
                <a16:creationId xmlns:a16="http://schemas.microsoft.com/office/drawing/2014/main" id="{D15EE47D-95EC-4837-EA51-BE595FA1FFF8}"/>
              </a:ext>
            </a:extLst>
          </p:cNvPr>
          <p:cNvSpPr/>
          <p:nvPr/>
        </p:nvSpPr>
        <p:spPr>
          <a:xfrm>
            <a:off x="628650" y="4686300"/>
            <a:ext cx="5372100" cy="1704975"/>
          </a:xfrm>
          <a:custGeom>
            <a:avLst/>
            <a:gdLst>
              <a:gd name="connsiteX0" fmla="*/ 0 w 5372100"/>
              <a:gd name="connsiteY0" fmla="*/ 0 h 1704975"/>
              <a:gd name="connsiteX1" fmla="*/ 1162050 w 5372100"/>
              <a:gd name="connsiteY1" fmla="*/ 361950 h 1704975"/>
              <a:gd name="connsiteX2" fmla="*/ 4305300 w 5372100"/>
              <a:gd name="connsiteY2" fmla="*/ 1447800 h 1704975"/>
              <a:gd name="connsiteX3" fmla="*/ 5324475 w 5372100"/>
              <a:gd name="connsiteY3" fmla="*/ 1704975 h 1704975"/>
              <a:gd name="connsiteX4" fmla="*/ 5372100 w 5372100"/>
              <a:gd name="connsiteY4" fmla="*/ 1628775 h 1704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100" h="1704975">
                <a:moveTo>
                  <a:pt x="0" y="0"/>
                </a:moveTo>
                <a:cubicBezTo>
                  <a:pt x="387350" y="120650"/>
                  <a:pt x="777506" y="232634"/>
                  <a:pt x="1162050" y="361950"/>
                </a:cubicBezTo>
                <a:cubicBezTo>
                  <a:pt x="2212739" y="715279"/>
                  <a:pt x="3250347" y="1107415"/>
                  <a:pt x="4305300" y="1447800"/>
                </a:cubicBezTo>
                <a:cubicBezTo>
                  <a:pt x="4638747" y="1555388"/>
                  <a:pt x="4984750" y="1619250"/>
                  <a:pt x="5324475" y="1704975"/>
                </a:cubicBezTo>
                <a:lnTo>
                  <a:pt x="5372100" y="1628775"/>
                </a:lnTo>
              </a:path>
            </a:pathLst>
          </a:cu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13" name="Picture 12">
            <a:extLst>
              <a:ext uri="{FF2B5EF4-FFF2-40B4-BE49-F238E27FC236}">
                <a16:creationId xmlns:a16="http://schemas.microsoft.com/office/drawing/2014/main" id="{1D87339E-2E6A-70BE-D79D-5916020749F3}"/>
              </a:ext>
            </a:extLst>
          </p:cNvPr>
          <p:cNvPicPr>
            <a:picLocks noChangeAspect="1"/>
          </p:cNvPicPr>
          <p:nvPr/>
        </p:nvPicPr>
        <p:blipFill rotWithShape="1">
          <a:blip r:embed="rId4"/>
          <a:srcRect r="22761"/>
          <a:stretch/>
        </p:blipFill>
        <p:spPr>
          <a:xfrm>
            <a:off x="337343" y="4217383"/>
            <a:ext cx="8953500" cy="1857375"/>
          </a:xfrm>
          <a:prstGeom prst="rect">
            <a:avLst/>
          </a:prstGeom>
        </p:spPr>
      </p:pic>
      <p:sp>
        <p:nvSpPr>
          <p:cNvPr id="11" name="TextBox 10">
            <a:extLst>
              <a:ext uri="{FF2B5EF4-FFF2-40B4-BE49-F238E27FC236}">
                <a16:creationId xmlns:a16="http://schemas.microsoft.com/office/drawing/2014/main" id="{B3411D12-DCA3-6E92-8ACC-94394E97B14E}"/>
              </a:ext>
            </a:extLst>
          </p:cNvPr>
          <p:cNvSpPr txBox="1"/>
          <p:nvPr/>
        </p:nvSpPr>
        <p:spPr bwMode="auto">
          <a:xfrm>
            <a:off x="8014493" y="4876799"/>
            <a:ext cx="3838575" cy="1357745"/>
          </a:xfrm>
          <a:prstGeom prst="rect">
            <a:avLst/>
          </a:prstGeom>
          <a:solidFill>
            <a:schemeClr val="bg1"/>
          </a:solidFill>
          <a:ln w="28575">
            <a:solidFill>
              <a:schemeClr val="tx2"/>
            </a:solidFill>
            <a:miter lim="800000"/>
            <a:headEnd/>
            <a:tailEnd/>
          </a:ln>
          <a:effectLst/>
        </p:spPr>
        <p:txBody>
          <a:bodyPr vert="horz" wrap="none" lIns="0" tIns="0" rIns="0" bIns="0" numCol="1" rtlCol="0" anchor="t" anchorCtr="0" compatLnSpc="1">
            <a:prstTxWarp prst="textNoShape">
              <a:avLst/>
            </a:prstTxWarp>
            <a:noAutofit/>
          </a:bodyPr>
          <a:lstStyle/>
          <a:p>
            <a:pPr algn="just" defTabSz="457200" eaLnBrk="0" hangingPunct="0">
              <a:buNone/>
            </a:pPr>
            <a:endParaRPr lang="en-GB" sz="1800" u="none" strike="noStrike" dirty="0">
              <a:effectLst/>
            </a:endParaRPr>
          </a:p>
          <a:p>
            <a:pPr algn="ctr" defTabSz="457200" eaLnBrk="0" hangingPunct="0">
              <a:buNone/>
            </a:pPr>
            <a:r>
              <a:rPr lang="en-GB" sz="1800" u="sng" strike="noStrike" dirty="0">
                <a:effectLst/>
              </a:rPr>
              <a:t>Only</a:t>
            </a:r>
            <a:r>
              <a:rPr lang="en-GB" sz="1800" u="none" strike="noStrike" dirty="0">
                <a:effectLst/>
              </a:rPr>
              <a:t> use the </a:t>
            </a:r>
            <a:r>
              <a:rPr lang="en-GB" sz="1800" b="1" u="none" strike="noStrike" dirty="0">
                <a:effectLst/>
              </a:rPr>
              <a:t>Latin alphabet</a:t>
            </a:r>
            <a:r>
              <a:rPr lang="en-GB" sz="1800" u="none" strike="noStrike" dirty="0">
                <a:effectLst/>
              </a:rPr>
              <a:t>.</a:t>
            </a:r>
          </a:p>
          <a:p>
            <a:pPr algn="ctr" defTabSz="457200" eaLnBrk="0" hangingPunct="0">
              <a:buNone/>
            </a:pPr>
            <a:r>
              <a:rPr lang="en-GB" dirty="0"/>
              <a:t>D</a:t>
            </a:r>
            <a:r>
              <a:rPr lang="en-GB" sz="1800" u="none" strike="noStrike" dirty="0">
                <a:effectLst/>
              </a:rPr>
              <a:t>o </a:t>
            </a:r>
            <a:r>
              <a:rPr lang="en-GB" sz="1800" u="sng" strike="noStrike" dirty="0">
                <a:effectLst/>
              </a:rPr>
              <a:t>not</a:t>
            </a:r>
            <a:r>
              <a:rPr lang="en-GB" sz="1800" u="none" strike="noStrike" dirty="0">
                <a:effectLst/>
              </a:rPr>
              <a:t> use </a:t>
            </a:r>
            <a:r>
              <a:rPr lang="en-GB" sz="1800" b="1" u="none" strike="noStrike" dirty="0">
                <a:effectLst/>
              </a:rPr>
              <a:t>abbreviations</a:t>
            </a:r>
            <a:r>
              <a:rPr lang="en-GB" sz="1800" u="none" strike="noStrike" dirty="0">
                <a:effectLst/>
              </a:rPr>
              <a:t>.</a:t>
            </a:r>
          </a:p>
          <a:p>
            <a:pPr marL="285750" indent="-285750" algn="just" defTabSz="457200" eaLnBrk="0" hangingPunct="0">
              <a:buFont typeface="Arial" panose="020B0604020202020204" pitchFamily="34" charset="0"/>
              <a:buChar char="•"/>
            </a:pPr>
            <a:endParaRPr kumimoji="0" lang="en-GB" sz="1800" b="0" i="0" u="none" strike="noStrike" kern="1200" cap="none" spc="0" normalizeH="0" baseline="0" noProof="0" dirty="0" err="1">
              <a:ln>
                <a:noFill/>
              </a:ln>
              <a:solidFill>
                <a:schemeClr val="tx1"/>
              </a:solidFill>
              <a:effectLst/>
              <a:uLnTx/>
              <a:uFillTx/>
              <a:latin typeface="Verdana"/>
              <a:ea typeface="Verdana" pitchFamily="34" charset="0"/>
              <a:cs typeface="Verdana" pitchFamily="34" charset="0"/>
            </a:endParaRPr>
          </a:p>
        </p:txBody>
      </p:sp>
      <p:sp>
        <p:nvSpPr>
          <p:cNvPr id="3" name="TextBox 2">
            <a:extLst>
              <a:ext uri="{FF2B5EF4-FFF2-40B4-BE49-F238E27FC236}">
                <a16:creationId xmlns:a16="http://schemas.microsoft.com/office/drawing/2014/main" id="{6CB8F4CA-B339-AA1B-28EF-57F7EDB6F7D4}"/>
              </a:ext>
            </a:extLst>
          </p:cNvPr>
          <p:cNvSpPr txBox="1"/>
          <p:nvPr/>
        </p:nvSpPr>
        <p:spPr bwMode="auto">
          <a:xfrm>
            <a:off x="337343" y="6234545"/>
            <a:ext cx="7504330" cy="43088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400" b="0" i="1" u="none" strike="noStrike" kern="1200" cap="none" spc="0" normalizeH="0" baseline="0" noProof="0" dirty="0">
                <a:ln>
                  <a:noFill/>
                </a:ln>
                <a:solidFill>
                  <a:schemeClr val="tx2"/>
                </a:solidFill>
                <a:effectLst/>
                <a:uLnTx/>
                <a:uFillTx/>
                <a:latin typeface="Verdana"/>
                <a:ea typeface="Verdana" pitchFamily="34" charset="0"/>
                <a:cs typeface="Verdana" pitchFamily="34" charset="0"/>
              </a:rPr>
              <a:t>NOTE – For Interreg Programmes, ‘National Authorities’ and ‘Group of Auditors Representatives’ are considered Intermediate Bodies</a:t>
            </a:r>
          </a:p>
        </p:txBody>
      </p:sp>
      <p:sp>
        <p:nvSpPr>
          <p:cNvPr id="2" name="Action Button: Go to Beginning 1">
            <a:hlinkClick r:id="rId5" action="ppaction://hlinksldjump" highlightClick="1"/>
            <a:extLst>
              <a:ext uri="{FF2B5EF4-FFF2-40B4-BE49-F238E27FC236}">
                <a16:creationId xmlns:a16="http://schemas.microsoft.com/office/drawing/2014/main" id="{5E76EA06-DAB6-153C-C28B-32D5BC23B4ED}"/>
              </a:ext>
            </a:extLst>
          </p:cNvPr>
          <p:cNvSpPr/>
          <p:nvPr/>
        </p:nvSpPr>
        <p:spPr>
          <a:xfrm>
            <a:off x="11215991" y="6352162"/>
            <a:ext cx="778213" cy="398834"/>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BE" sz="2000" err="1"/>
          </a:p>
        </p:txBody>
      </p:sp>
      <p:sp>
        <p:nvSpPr>
          <p:cNvPr id="5" name="TextBox 4">
            <a:extLst>
              <a:ext uri="{FF2B5EF4-FFF2-40B4-BE49-F238E27FC236}">
                <a16:creationId xmlns:a16="http://schemas.microsoft.com/office/drawing/2014/main" id="{CB57CC70-CA01-7B2C-77F1-F0C7229734B7}"/>
              </a:ext>
            </a:extLst>
          </p:cNvPr>
          <p:cNvSpPr txBox="1"/>
          <p:nvPr/>
        </p:nvSpPr>
        <p:spPr bwMode="auto">
          <a:xfrm>
            <a:off x="10437778" y="6397690"/>
            <a:ext cx="778213" cy="3077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fr-FR" sz="1000" b="0" i="1" u="none" strike="noStrike" kern="1200" cap="none" spc="0" normalizeH="0" baseline="0" noProof="0">
                <a:ln>
                  <a:noFill/>
                </a:ln>
                <a:solidFill>
                  <a:schemeClr val="tx2"/>
                </a:solidFill>
                <a:effectLst/>
                <a:uLnTx/>
                <a:uFillTx/>
                <a:latin typeface="Verdana"/>
                <a:ea typeface="Verdana" pitchFamily="34" charset="0"/>
                <a:cs typeface="Verdana" pitchFamily="34" charset="0"/>
              </a:rPr>
              <a:t>Go to table of content</a:t>
            </a:r>
            <a:endParaRPr kumimoji="0" lang="nl-BE" sz="1000" b="0" i="1" u="none" strike="noStrike" kern="1200" cap="none" spc="0" normalizeH="0" baseline="0" noProof="0" err="1">
              <a:ln>
                <a:noFill/>
              </a:ln>
              <a:solidFill>
                <a:schemeClr val="tx2"/>
              </a:solidFill>
              <a:effectLst/>
              <a:uLnTx/>
              <a:uFillTx/>
              <a:latin typeface="Verdana"/>
              <a:ea typeface="Verdana" pitchFamily="34" charset="0"/>
              <a:cs typeface="Verdana" pitchFamily="34" charset="0"/>
            </a:endParaRPr>
          </a:p>
        </p:txBody>
      </p:sp>
    </p:spTree>
    <p:extLst>
      <p:ext uri="{BB962C8B-B14F-4D97-AF65-F5344CB8AC3E}">
        <p14:creationId xmlns:p14="http://schemas.microsoft.com/office/powerpoint/2010/main" val="4226638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2767DA1-8B40-0CFA-BF01-E288E55F3493}"/>
              </a:ext>
            </a:extLst>
          </p:cNvPr>
          <p:cNvSpPr/>
          <p:nvPr/>
        </p:nvSpPr>
        <p:spPr>
          <a:xfrm>
            <a:off x="0" y="0"/>
            <a:ext cx="12190413" cy="1066800"/>
          </a:xfrm>
          <a:prstGeom prst="rect">
            <a:avLst/>
          </a:prstGeom>
          <a:solidFill>
            <a:schemeClr val="accent1">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96000" lvl="2" indent="0">
              <a:buNone/>
            </a:pPr>
            <a:r>
              <a:rPr lang="en-GB" sz="2600" b="1" dirty="0">
                <a:latin typeface="Gotham Rounded Light" pitchFamily="50" charset="0"/>
              </a:rPr>
              <a:t>Yellow Cells</a:t>
            </a:r>
          </a:p>
        </p:txBody>
      </p:sp>
      <p:sp>
        <p:nvSpPr>
          <p:cNvPr id="7" name="Freeform: Shape 6">
            <a:extLst>
              <a:ext uri="{FF2B5EF4-FFF2-40B4-BE49-F238E27FC236}">
                <a16:creationId xmlns:a16="http://schemas.microsoft.com/office/drawing/2014/main" id="{D15EE47D-95EC-4837-EA51-BE595FA1FFF8}"/>
              </a:ext>
            </a:extLst>
          </p:cNvPr>
          <p:cNvSpPr/>
          <p:nvPr/>
        </p:nvSpPr>
        <p:spPr>
          <a:xfrm>
            <a:off x="628650" y="4686300"/>
            <a:ext cx="5372100" cy="1704975"/>
          </a:xfrm>
          <a:custGeom>
            <a:avLst/>
            <a:gdLst>
              <a:gd name="connsiteX0" fmla="*/ 0 w 5372100"/>
              <a:gd name="connsiteY0" fmla="*/ 0 h 1704975"/>
              <a:gd name="connsiteX1" fmla="*/ 1162050 w 5372100"/>
              <a:gd name="connsiteY1" fmla="*/ 361950 h 1704975"/>
              <a:gd name="connsiteX2" fmla="*/ 4305300 w 5372100"/>
              <a:gd name="connsiteY2" fmla="*/ 1447800 h 1704975"/>
              <a:gd name="connsiteX3" fmla="*/ 5324475 w 5372100"/>
              <a:gd name="connsiteY3" fmla="*/ 1704975 h 1704975"/>
              <a:gd name="connsiteX4" fmla="*/ 5372100 w 5372100"/>
              <a:gd name="connsiteY4" fmla="*/ 1628775 h 1704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100" h="1704975">
                <a:moveTo>
                  <a:pt x="0" y="0"/>
                </a:moveTo>
                <a:cubicBezTo>
                  <a:pt x="387350" y="120650"/>
                  <a:pt x="777506" y="232634"/>
                  <a:pt x="1162050" y="361950"/>
                </a:cubicBezTo>
                <a:cubicBezTo>
                  <a:pt x="2212739" y="715279"/>
                  <a:pt x="3250347" y="1107415"/>
                  <a:pt x="4305300" y="1447800"/>
                </a:cubicBezTo>
                <a:cubicBezTo>
                  <a:pt x="4638747" y="1555388"/>
                  <a:pt x="4984750" y="1619250"/>
                  <a:pt x="5324475" y="1704975"/>
                </a:cubicBezTo>
                <a:lnTo>
                  <a:pt x="5372100" y="1628775"/>
                </a:lnTo>
              </a:path>
            </a:pathLst>
          </a:cu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72F0BE3F-7B16-67FC-EC8E-368991FF510E}"/>
              </a:ext>
            </a:extLst>
          </p:cNvPr>
          <p:cNvPicPr>
            <a:picLocks noChangeAspect="1"/>
          </p:cNvPicPr>
          <p:nvPr/>
        </p:nvPicPr>
        <p:blipFill rotWithShape="1">
          <a:blip r:embed="rId3"/>
          <a:srcRect t="51708"/>
          <a:stretch/>
        </p:blipFill>
        <p:spPr>
          <a:xfrm>
            <a:off x="238125" y="1911930"/>
            <a:ext cx="11525250" cy="1839913"/>
          </a:xfrm>
          <a:prstGeom prst="rect">
            <a:avLst/>
          </a:prstGeom>
        </p:spPr>
      </p:pic>
      <p:cxnSp>
        <p:nvCxnSpPr>
          <p:cNvPr id="8" name="Straight Arrow Connector 7">
            <a:extLst>
              <a:ext uri="{FF2B5EF4-FFF2-40B4-BE49-F238E27FC236}">
                <a16:creationId xmlns:a16="http://schemas.microsoft.com/office/drawing/2014/main" id="{D6442EF8-E81A-AD94-2D05-D49027E45B85}"/>
              </a:ext>
            </a:extLst>
          </p:cNvPr>
          <p:cNvCxnSpPr>
            <a:cxnSpLocks/>
          </p:cNvCxnSpPr>
          <p:nvPr/>
        </p:nvCxnSpPr>
        <p:spPr>
          <a:xfrm flipV="1">
            <a:off x="8639175" y="3751843"/>
            <a:ext cx="1133475" cy="1422400"/>
          </a:xfrm>
          <a:prstGeom prst="straightConnector1">
            <a:avLst/>
          </a:prstGeom>
          <a:ln w="571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EC00620A-FDE0-0E34-C10D-0472CB8C1E60}"/>
              </a:ext>
            </a:extLst>
          </p:cNvPr>
          <p:cNvSpPr txBox="1"/>
          <p:nvPr/>
        </p:nvSpPr>
        <p:spPr bwMode="auto">
          <a:xfrm>
            <a:off x="377298" y="5174243"/>
            <a:ext cx="8261877" cy="215444"/>
          </a:xfrm>
          <a:prstGeom prst="rect">
            <a:avLst/>
          </a:prstGeom>
          <a:noFill/>
          <a:ln w="9525">
            <a:noFill/>
            <a:miter lim="800000"/>
            <a:headEnd/>
            <a:tailEnd/>
          </a:ln>
          <a:effectLst/>
        </p:spPr>
        <p:txBody>
          <a:bodyPr vert="horz" wrap="non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lang="en-GB" sz="1400" i="1" spc="0" dirty="0">
                <a:solidFill>
                  <a:schemeClr val="accent1">
                    <a:lumMod val="50000"/>
                  </a:schemeClr>
                </a:solidFill>
              </a:rPr>
              <a:t>Throughout the survey, c</a:t>
            </a:r>
            <a:r>
              <a:rPr kumimoji="0" lang="en-GB" sz="1400" b="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ells in yellow must be equal to </a:t>
            </a:r>
            <a:r>
              <a:rPr kumimoji="0" lang="en-GB" sz="1400" b="1"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100%</a:t>
            </a:r>
            <a:r>
              <a:rPr kumimoji="0" lang="en-GB" sz="1400" b="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 once the table is completed</a:t>
            </a:r>
          </a:p>
        </p:txBody>
      </p:sp>
      <p:sp>
        <p:nvSpPr>
          <p:cNvPr id="2" name="Action Button: Go to Beginning 1">
            <a:hlinkClick r:id="rId4" action="ppaction://hlinksldjump" highlightClick="1"/>
            <a:extLst>
              <a:ext uri="{FF2B5EF4-FFF2-40B4-BE49-F238E27FC236}">
                <a16:creationId xmlns:a16="http://schemas.microsoft.com/office/drawing/2014/main" id="{DB935685-5F57-121F-2CFF-C8FEEF9EB303}"/>
              </a:ext>
            </a:extLst>
          </p:cNvPr>
          <p:cNvSpPr/>
          <p:nvPr/>
        </p:nvSpPr>
        <p:spPr>
          <a:xfrm>
            <a:off x="11215991" y="6352162"/>
            <a:ext cx="778213" cy="398834"/>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BE" sz="2000" err="1"/>
          </a:p>
        </p:txBody>
      </p:sp>
      <p:sp>
        <p:nvSpPr>
          <p:cNvPr id="3" name="TextBox 2">
            <a:extLst>
              <a:ext uri="{FF2B5EF4-FFF2-40B4-BE49-F238E27FC236}">
                <a16:creationId xmlns:a16="http://schemas.microsoft.com/office/drawing/2014/main" id="{A1FF60F9-E0BD-B4E9-F3C6-596C1ADAF374}"/>
              </a:ext>
            </a:extLst>
          </p:cNvPr>
          <p:cNvSpPr txBox="1"/>
          <p:nvPr/>
        </p:nvSpPr>
        <p:spPr bwMode="auto">
          <a:xfrm>
            <a:off x="10437778" y="6397690"/>
            <a:ext cx="778213" cy="3077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fr-FR" sz="1000" b="0" i="1" u="none" strike="noStrike" kern="1200" cap="none" spc="0" normalizeH="0" baseline="0" noProof="0">
                <a:ln>
                  <a:noFill/>
                </a:ln>
                <a:solidFill>
                  <a:schemeClr val="tx2"/>
                </a:solidFill>
                <a:effectLst/>
                <a:uLnTx/>
                <a:uFillTx/>
                <a:latin typeface="Verdana"/>
                <a:ea typeface="Verdana" pitchFamily="34" charset="0"/>
                <a:cs typeface="Verdana" pitchFamily="34" charset="0"/>
              </a:rPr>
              <a:t>Go to table of content</a:t>
            </a:r>
            <a:endParaRPr kumimoji="0" lang="nl-BE" sz="1000" b="0" i="1" u="none" strike="noStrike" kern="1200" cap="none" spc="0" normalizeH="0" baseline="0" noProof="0" err="1">
              <a:ln>
                <a:noFill/>
              </a:ln>
              <a:solidFill>
                <a:schemeClr val="tx2"/>
              </a:solidFill>
              <a:effectLst/>
              <a:uLnTx/>
              <a:uFillTx/>
              <a:latin typeface="Verdana"/>
              <a:ea typeface="Verdana" pitchFamily="34" charset="0"/>
              <a:cs typeface="Verdana" pitchFamily="34" charset="0"/>
            </a:endParaRPr>
          </a:p>
        </p:txBody>
      </p:sp>
    </p:spTree>
    <p:extLst>
      <p:ext uri="{BB962C8B-B14F-4D97-AF65-F5344CB8AC3E}">
        <p14:creationId xmlns:p14="http://schemas.microsoft.com/office/powerpoint/2010/main" val="4448781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2767DA1-8B40-0CFA-BF01-E288E55F3493}"/>
              </a:ext>
            </a:extLst>
          </p:cNvPr>
          <p:cNvSpPr/>
          <p:nvPr/>
        </p:nvSpPr>
        <p:spPr>
          <a:xfrm>
            <a:off x="0" y="0"/>
            <a:ext cx="12190413" cy="1066800"/>
          </a:xfrm>
          <a:prstGeom prst="rect">
            <a:avLst/>
          </a:prstGeom>
          <a:solidFill>
            <a:schemeClr val="accent1">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96000" lvl="2" indent="0">
              <a:buNone/>
            </a:pPr>
            <a:r>
              <a:rPr lang="en-GB" sz="2600" b="1" dirty="0">
                <a:latin typeface="Gotham Rounded Light" pitchFamily="50" charset="0"/>
              </a:rPr>
              <a:t>Administrative Practices Sheet – Digital Tools</a:t>
            </a:r>
          </a:p>
        </p:txBody>
      </p:sp>
      <p:sp>
        <p:nvSpPr>
          <p:cNvPr id="2" name="TextBox 1">
            <a:extLst>
              <a:ext uri="{FF2B5EF4-FFF2-40B4-BE49-F238E27FC236}">
                <a16:creationId xmlns:a16="http://schemas.microsoft.com/office/drawing/2014/main" id="{093BA951-E12A-3E85-7210-3DBAF461F2AD}"/>
              </a:ext>
            </a:extLst>
          </p:cNvPr>
          <p:cNvSpPr txBox="1"/>
          <p:nvPr/>
        </p:nvSpPr>
        <p:spPr bwMode="auto">
          <a:xfrm>
            <a:off x="466725" y="1214824"/>
            <a:ext cx="8458200" cy="276999"/>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800" b="1"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Part 2 – Administrative Practices</a:t>
            </a:r>
          </a:p>
        </p:txBody>
      </p:sp>
      <p:sp>
        <p:nvSpPr>
          <p:cNvPr id="7" name="Freeform: Shape 6">
            <a:extLst>
              <a:ext uri="{FF2B5EF4-FFF2-40B4-BE49-F238E27FC236}">
                <a16:creationId xmlns:a16="http://schemas.microsoft.com/office/drawing/2014/main" id="{D15EE47D-95EC-4837-EA51-BE595FA1FFF8}"/>
              </a:ext>
            </a:extLst>
          </p:cNvPr>
          <p:cNvSpPr/>
          <p:nvPr/>
        </p:nvSpPr>
        <p:spPr>
          <a:xfrm>
            <a:off x="628650" y="4686300"/>
            <a:ext cx="5372100" cy="1704975"/>
          </a:xfrm>
          <a:custGeom>
            <a:avLst/>
            <a:gdLst>
              <a:gd name="connsiteX0" fmla="*/ 0 w 5372100"/>
              <a:gd name="connsiteY0" fmla="*/ 0 h 1704975"/>
              <a:gd name="connsiteX1" fmla="*/ 1162050 w 5372100"/>
              <a:gd name="connsiteY1" fmla="*/ 361950 h 1704975"/>
              <a:gd name="connsiteX2" fmla="*/ 4305300 w 5372100"/>
              <a:gd name="connsiteY2" fmla="*/ 1447800 h 1704975"/>
              <a:gd name="connsiteX3" fmla="*/ 5324475 w 5372100"/>
              <a:gd name="connsiteY3" fmla="*/ 1704975 h 1704975"/>
              <a:gd name="connsiteX4" fmla="*/ 5372100 w 5372100"/>
              <a:gd name="connsiteY4" fmla="*/ 1628775 h 1704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2100" h="1704975">
                <a:moveTo>
                  <a:pt x="0" y="0"/>
                </a:moveTo>
                <a:cubicBezTo>
                  <a:pt x="387350" y="120650"/>
                  <a:pt x="777506" y="232634"/>
                  <a:pt x="1162050" y="361950"/>
                </a:cubicBezTo>
                <a:cubicBezTo>
                  <a:pt x="2212739" y="715279"/>
                  <a:pt x="3250347" y="1107415"/>
                  <a:pt x="4305300" y="1447800"/>
                </a:cubicBezTo>
                <a:cubicBezTo>
                  <a:pt x="4638747" y="1555388"/>
                  <a:pt x="4984750" y="1619250"/>
                  <a:pt x="5324475" y="1704975"/>
                </a:cubicBezTo>
                <a:lnTo>
                  <a:pt x="5372100" y="1628775"/>
                </a:lnTo>
              </a:path>
            </a:pathLst>
          </a:cu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BDC49A93-766F-E5F4-8DCE-96B10899E131}"/>
              </a:ext>
            </a:extLst>
          </p:cNvPr>
          <p:cNvPicPr>
            <a:picLocks noChangeAspect="1"/>
          </p:cNvPicPr>
          <p:nvPr/>
        </p:nvPicPr>
        <p:blipFill>
          <a:blip r:embed="rId3"/>
          <a:stretch>
            <a:fillRect/>
          </a:stretch>
        </p:blipFill>
        <p:spPr>
          <a:xfrm>
            <a:off x="-1" y="1978071"/>
            <a:ext cx="12190413" cy="1574281"/>
          </a:xfrm>
          <a:prstGeom prst="rect">
            <a:avLst/>
          </a:prstGeom>
        </p:spPr>
      </p:pic>
      <p:cxnSp>
        <p:nvCxnSpPr>
          <p:cNvPr id="10" name="Straight Arrow Connector 9">
            <a:extLst>
              <a:ext uri="{FF2B5EF4-FFF2-40B4-BE49-F238E27FC236}">
                <a16:creationId xmlns:a16="http://schemas.microsoft.com/office/drawing/2014/main" id="{A83E845F-EA3B-4C4A-B6AE-8BFD16B7C98D}"/>
              </a:ext>
            </a:extLst>
          </p:cNvPr>
          <p:cNvCxnSpPr>
            <a:cxnSpLocks/>
          </p:cNvCxnSpPr>
          <p:nvPr/>
        </p:nvCxnSpPr>
        <p:spPr>
          <a:xfrm flipV="1">
            <a:off x="1562100" y="3105471"/>
            <a:ext cx="0" cy="1131688"/>
          </a:xfrm>
          <a:prstGeom prst="straightConnector1">
            <a:avLst/>
          </a:prstGeom>
          <a:ln w="571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5DD0CD3B-57D4-B6B8-C3EA-0AC8C26EC192}"/>
              </a:ext>
            </a:extLst>
          </p:cNvPr>
          <p:cNvSpPr txBox="1"/>
          <p:nvPr/>
        </p:nvSpPr>
        <p:spPr bwMode="auto">
          <a:xfrm>
            <a:off x="170760" y="4421968"/>
            <a:ext cx="6731010" cy="584775"/>
          </a:xfrm>
          <a:prstGeom prst="rect">
            <a:avLst/>
          </a:prstGeom>
          <a:noFill/>
          <a:ln w="9525">
            <a:noFill/>
            <a:miter lim="800000"/>
            <a:headEnd/>
            <a:tailEnd/>
          </a:ln>
          <a:effectLst/>
        </p:spPr>
        <p:txBody>
          <a:bodyPr vert="horz" wrap="none" lIns="0" tIns="0" rIns="0" bIns="0" numCol="1" rtlCol="0" anchor="t" anchorCtr="0" compatLnSpc="1">
            <a:prstTxWarp prst="textNoShape">
              <a:avLst/>
            </a:prstTxWarp>
            <a:spAutoFit/>
          </a:bodyPr>
          <a:lstStyle/>
          <a:p>
            <a:pPr marR="0" algn="ctr" defTabSz="457200" rtl="0" eaLnBrk="0" fontAlgn="base" latinLnBrk="0" hangingPunct="0">
              <a:spcBef>
                <a:spcPct val="0"/>
              </a:spcBef>
              <a:buClrTx/>
              <a:buSzTx/>
              <a:tabLst/>
            </a:pPr>
            <a:r>
              <a:rPr kumimoji="0" lang="en-GB" sz="1400" b="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1) Select ‘Yes’ for all the levels for which there exist a digital tool related </a:t>
            </a:r>
          </a:p>
          <a:p>
            <a:pPr marR="0" algn="ctr" defTabSz="457200" rtl="0" eaLnBrk="0" fontAlgn="base" latinLnBrk="0" hangingPunct="0">
              <a:spcBef>
                <a:spcPct val="0"/>
              </a:spcBef>
              <a:buClrTx/>
              <a:buSzTx/>
              <a:tabLst/>
            </a:pPr>
            <a:r>
              <a:rPr kumimoji="0" lang="en-GB" sz="1400" b="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to the management of the 2121-2027 CPR funds</a:t>
            </a:r>
          </a:p>
        </p:txBody>
      </p:sp>
      <p:cxnSp>
        <p:nvCxnSpPr>
          <p:cNvPr id="14" name="Straight Arrow Connector 13">
            <a:extLst>
              <a:ext uri="{FF2B5EF4-FFF2-40B4-BE49-F238E27FC236}">
                <a16:creationId xmlns:a16="http://schemas.microsoft.com/office/drawing/2014/main" id="{0D1768B5-0CFF-402C-DD62-700553188743}"/>
              </a:ext>
            </a:extLst>
          </p:cNvPr>
          <p:cNvCxnSpPr>
            <a:cxnSpLocks/>
          </p:cNvCxnSpPr>
          <p:nvPr/>
        </p:nvCxnSpPr>
        <p:spPr>
          <a:xfrm flipV="1">
            <a:off x="7781925" y="3105471"/>
            <a:ext cx="0" cy="2433316"/>
          </a:xfrm>
          <a:prstGeom prst="straightConnector1">
            <a:avLst/>
          </a:prstGeom>
          <a:ln w="571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EF61E820-8C35-8383-8D5A-D1AFE319069A}"/>
              </a:ext>
            </a:extLst>
          </p:cNvPr>
          <p:cNvSpPr txBox="1"/>
          <p:nvPr/>
        </p:nvSpPr>
        <p:spPr bwMode="auto">
          <a:xfrm>
            <a:off x="5269217" y="5644764"/>
            <a:ext cx="5025415" cy="584775"/>
          </a:xfrm>
          <a:prstGeom prst="rect">
            <a:avLst/>
          </a:prstGeom>
          <a:noFill/>
          <a:ln w="9525">
            <a:noFill/>
            <a:miter lim="800000"/>
            <a:headEnd/>
            <a:tailEnd/>
          </a:ln>
          <a:effectLst/>
        </p:spPr>
        <p:txBody>
          <a:bodyPr vert="horz" wrap="none" lIns="0" tIns="0" rIns="0" bIns="0" numCol="1" rtlCol="0" anchor="t" anchorCtr="0" compatLnSpc="1">
            <a:prstTxWarp prst="textNoShape">
              <a:avLst/>
            </a:prstTxWarp>
            <a:spAutoFit/>
          </a:bodyPr>
          <a:lstStyle/>
          <a:p>
            <a:pPr marR="0" algn="ctr" defTabSz="457200" rtl="0" eaLnBrk="0" fontAlgn="base" latinLnBrk="0" hangingPunct="0">
              <a:spcBef>
                <a:spcPct val="0"/>
              </a:spcBef>
              <a:buClrTx/>
              <a:buSzTx/>
              <a:tabLst/>
            </a:pPr>
            <a:r>
              <a:rPr kumimoji="0" lang="en-GB" sz="1400" b="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1) Provide the estimated reduction in FTEs allowed by </a:t>
            </a:r>
          </a:p>
          <a:p>
            <a:pPr marR="0" algn="ctr" defTabSz="457200" rtl="0" eaLnBrk="0" fontAlgn="base" latinLnBrk="0" hangingPunct="0">
              <a:spcBef>
                <a:spcPct val="0"/>
              </a:spcBef>
              <a:buClrTx/>
              <a:buSzTx/>
              <a:tabLst/>
            </a:pPr>
            <a:r>
              <a:rPr kumimoji="0" lang="en-GB" sz="1400" b="0" i="1" u="none" strike="noStrike" kern="1200" cap="none" spc="0" normalizeH="0" baseline="0" noProof="0" dirty="0">
                <a:ln>
                  <a:noFill/>
                </a:ln>
                <a:solidFill>
                  <a:schemeClr val="accent1">
                    <a:lumMod val="50000"/>
                  </a:schemeClr>
                </a:solidFill>
                <a:effectLst/>
                <a:uLnTx/>
                <a:uFillTx/>
                <a:latin typeface="Verdana"/>
                <a:ea typeface="Verdana" pitchFamily="34" charset="0"/>
                <a:cs typeface="Verdana" pitchFamily="34" charset="0"/>
              </a:rPr>
              <a:t>the use of the corresponding tool</a:t>
            </a:r>
          </a:p>
        </p:txBody>
      </p:sp>
      <p:sp>
        <p:nvSpPr>
          <p:cNvPr id="20" name="Oval 19">
            <a:extLst>
              <a:ext uri="{FF2B5EF4-FFF2-40B4-BE49-F238E27FC236}">
                <a16:creationId xmlns:a16="http://schemas.microsoft.com/office/drawing/2014/main" id="{8B70BA81-BE18-970F-CB0B-E4E086C17F01}"/>
              </a:ext>
            </a:extLst>
          </p:cNvPr>
          <p:cNvSpPr/>
          <p:nvPr/>
        </p:nvSpPr>
        <p:spPr>
          <a:xfrm>
            <a:off x="1447800" y="2920662"/>
            <a:ext cx="1075633" cy="509132"/>
          </a:xfrm>
          <a:prstGeom prst="ellipse">
            <a:avLst/>
          </a:prstGeom>
          <a:noFill/>
          <a:ln w="38100">
            <a:solidFill>
              <a:srgbClr val="FFFF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Oval 20">
            <a:extLst>
              <a:ext uri="{FF2B5EF4-FFF2-40B4-BE49-F238E27FC236}">
                <a16:creationId xmlns:a16="http://schemas.microsoft.com/office/drawing/2014/main" id="{A797755A-854B-83B1-B8D8-1A1DA3D319BF}"/>
              </a:ext>
            </a:extLst>
          </p:cNvPr>
          <p:cNvSpPr/>
          <p:nvPr/>
        </p:nvSpPr>
        <p:spPr>
          <a:xfrm>
            <a:off x="6819106" y="2904646"/>
            <a:ext cx="1075633" cy="509132"/>
          </a:xfrm>
          <a:prstGeom prst="ellipse">
            <a:avLst/>
          </a:prstGeom>
          <a:noFill/>
          <a:ln w="38100">
            <a:solidFill>
              <a:srgbClr val="FFFF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 name="Action Button: Go to Beginning 2">
            <a:hlinkClick r:id="rId4" action="ppaction://hlinksldjump" highlightClick="1"/>
            <a:extLst>
              <a:ext uri="{FF2B5EF4-FFF2-40B4-BE49-F238E27FC236}">
                <a16:creationId xmlns:a16="http://schemas.microsoft.com/office/drawing/2014/main" id="{B6B058F7-7942-86FB-2240-14648F33FF90}"/>
              </a:ext>
            </a:extLst>
          </p:cNvPr>
          <p:cNvSpPr/>
          <p:nvPr/>
        </p:nvSpPr>
        <p:spPr>
          <a:xfrm>
            <a:off x="11215991" y="6352162"/>
            <a:ext cx="778213" cy="398834"/>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l-BE" sz="2000" err="1"/>
          </a:p>
        </p:txBody>
      </p:sp>
      <p:sp>
        <p:nvSpPr>
          <p:cNvPr id="5" name="TextBox 4">
            <a:extLst>
              <a:ext uri="{FF2B5EF4-FFF2-40B4-BE49-F238E27FC236}">
                <a16:creationId xmlns:a16="http://schemas.microsoft.com/office/drawing/2014/main" id="{ACBAC394-CCCB-C909-4470-269BE159511B}"/>
              </a:ext>
            </a:extLst>
          </p:cNvPr>
          <p:cNvSpPr txBox="1"/>
          <p:nvPr/>
        </p:nvSpPr>
        <p:spPr bwMode="auto">
          <a:xfrm>
            <a:off x="10437778" y="6397690"/>
            <a:ext cx="778213" cy="3077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fr-FR" sz="1000" b="0" i="1" u="none" strike="noStrike" kern="1200" cap="none" spc="0" normalizeH="0" baseline="0" noProof="0">
                <a:ln>
                  <a:noFill/>
                </a:ln>
                <a:solidFill>
                  <a:schemeClr val="tx2"/>
                </a:solidFill>
                <a:effectLst/>
                <a:uLnTx/>
                <a:uFillTx/>
                <a:latin typeface="Verdana"/>
                <a:ea typeface="Verdana" pitchFamily="34" charset="0"/>
                <a:cs typeface="Verdana" pitchFamily="34" charset="0"/>
              </a:rPr>
              <a:t>Go to table of content</a:t>
            </a:r>
            <a:endParaRPr kumimoji="0" lang="nl-BE" sz="1000" b="0" i="1" u="none" strike="noStrike" kern="1200" cap="none" spc="0" normalizeH="0" baseline="0" noProof="0" err="1">
              <a:ln>
                <a:noFill/>
              </a:ln>
              <a:solidFill>
                <a:schemeClr val="tx2"/>
              </a:solidFill>
              <a:effectLst/>
              <a:uLnTx/>
              <a:uFillTx/>
              <a:latin typeface="Verdana"/>
              <a:ea typeface="Verdana" pitchFamily="34" charset="0"/>
              <a:cs typeface="Verdana" pitchFamily="34" charset="0"/>
            </a:endParaRPr>
          </a:p>
        </p:txBody>
      </p:sp>
    </p:spTree>
    <p:extLst>
      <p:ext uri="{BB962C8B-B14F-4D97-AF65-F5344CB8AC3E}">
        <p14:creationId xmlns:p14="http://schemas.microsoft.com/office/powerpoint/2010/main" val="24356161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DNEW" val="False"/>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Ramboll">
      <a:dk1>
        <a:srgbClr val="333333"/>
      </a:dk1>
      <a:lt1>
        <a:srgbClr val="FFFFFF"/>
      </a:lt1>
      <a:dk2>
        <a:srgbClr val="009DF0"/>
      </a:dk2>
      <a:lt2>
        <a:srgbClr val="797766"/>
      </a:lt2>
      <a:accent1>
        <a:srgbClr val="ADDDFF"/>
      </a:accent1>
      <a:accent2>
        <a:srgbClr val="3AA551"/>
      </a:accent2>
      <a:accent3>
        <a:srgbClr val="A8D100"/>
      </a:accent3>
      <a:accent4>
        <a:srgbClr val="C40079"/>
      </a:accent4>
      <a:accent5>
        <a:srgbClr val="C63418"/>
      </a:accent5>
      <a:accent6>
        <a:srgbClr val="D0CFC9"/>
      </a:accent6>
      <a:hlink>
        <a:srgbClr val="009DF0"/>
      </a:hlink>
      <a:folHlink>
        <a:srgbClr val="ADDDFF"/>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bwMode="auto">
        <a:noFill/>
        <a:ln w="9525">
          <a:noFill/>
          <a:miter lim="800000"/>
          <a:headEnd/>
          <a:tailEnd/>
        </a:ln>
        <a:effectLst/>
      </a:spPr>
      <a:bodyPr vert="horz" wrap="square" lIns="0" tIns="0" rIns="0" bIns="0" numCol="1" rtlCol="0" anchor="t" anchorCtr="0" compatLnSpc="1">
        <a:prstTxWarp prst="textNoShape">
          <a:avLst/>
        </a:prstTxWarp>
        <a:spAutoFit/>
      </a:bodyPr>
      <a:lstStyle>
        <a:defPPr marR="0" algn="l" defTabSz="457200" rtl="0" eaLnBrk="0" fontAlgn="base" latinLnBrk="0" hangingPunct="0">
          <a:spcBef>
            <a:spcPct val="0"/>
          </a:spcBef>
          <a:buClrTx/>
          <a:buSzTx/>
          <a:tabLst/>
          <a:defRPr kumimoji="0" sz="1800" b="0" i="0" u="none" strike="noStrike" kern="1200" cap="none" spc="0" normalizeH="0" baseline="0" noProof="0" dirty="0" err="1" smtClean="0">
            <a:ln>
              <a:noFill/>
            </a:ln>
            <a:solidFill>
              <a:schemeClr val="tx1"/>
            </a:solidFill>
            <a:effectLst/>
            <a:uLnTx/>
            <a:uFillTx/>
            <a:latin typeface="Verdana"/>
            <a:ea typeface="Verdana" pitchFamily="34" charset="0"/>
            <a:cs typeface="Verdana" pitchFamily="34" charset="0"/>
          </a:defRPr>
        </a:defPPr>
      </a:lstStyle>
    </a:txDef>
  </a:objectDefaults>
  <a:extraClrSchemeLst/>
  <a:custClrLst>
    <a:custClr name="Black">
      <a:srgbClr val="333333"/>
    </a:custClr>
    <a:custClr name="Dark Grey">
      <a:srgbClr val="797766"/>
    </a:custClr>
    <a:custClr name="Cyan">
      <a:srgbClr val="009DF0"/>
    </a:custClr>
    <a:custClr name="Light Blue">
      <a:srgbClr val="ADDDFF"/>
    </a:custClr>
    <a:custClr name="Green">
      <a:srgbClr val="3AA551"/>
    </a:custClr>
    <a:custClr name="Lime Green">
      <a:srgbClr val="A8D100"/>
    </a:custClr>
    <a:custClr name="Magenta">
      <a:srgbClr val="C40079"/>
    </a:custClr>
    <a:custClr name="Warm Red">
      <a:srgbClr val="C63418"/>
    </a:custClr>
    <a:custClr name="Light Grey">
      <a:srgbClr val="D0CFC9"/>
    </a:custClr>
    <a:custClr name="Dark Blue">
      <a:srgbClr val="006FAD"/>
    </a:custClr>
    <a:custClr name="White">
      <a:srgbClr val="FFFFFF"/>
    </a:custClr>
    <a:custClr name="65% Dark Grey">
      <a:srgbClr val="A8A69B"/>
    </a:custClr>
    <a:custClr name="65% Cyan">
      <a:srgbClr val="59BFF5"/>
    </a:custClr>
    <a:custClr name="65% Light Blue">
      <a:srgbClr val="CAE9FF"/>
    </a:custClr>
    <a:custClr name="65% Green">
      <a:srgbClr val="7FC48E"/>
    </a:custClr>
    <a:custClr name="65% Lime Green">
      <a:srgbClr val="C6E159"/>
    </a:custClr>
    <a:custClr name="65% Magenta">
      <a:srgbClr val="D959A8"/>
    </a:custClr>
    <a:custClr name="65% Warm Red">
      <a:srgbClr val="DA7B69"/>
    </a:custClr>
    <a:custClr name="65% Light Grey">
      <a:srgbClr val="E0E0DC"/>
    </a:custClr>
    <a:custClr name="65% Dark Blue">
      <a:srgbClr val="59A1CA"/>
    </a:custClr>
    <a:custClr name="White">
      <a:srgbClr val="FFFFFF"/>
    </a:custClr>
    <a:custClr name="30% Dark Grey">
      <a:srgbClr val="D7D6D1"/>
    </a:custClr>
    <a:custClr name="30% Cyan">
      <a:srgbClr val="B2E1FA"/>
    </a:custClr>
    <a:custClr name="30% Light Blue">
      <a:srgbClr val="E6F5FF"/>
    </a:custClr>
    <a:custClr name="30% Green">
      <a:srgbClr val="C4E4CA"/>
    </a:custClr>
    <a:custClr name="30% Lime Green">
      <a:srgbClr val="E5F1B2"/>
    </a:custClr>
    <a:custClr name="30% Magenta">
      <a:srgbClr val="EDB2D7"/>
    </a:custClr>
    <a:custClr name="30% Warm Red">
      <a:srgbClr val="EEC2B9"/>
    </a:custClr>
    <a:custClr name="30% Light Grey">
      <a:srgbClr val="F6F6F4"/>
    </a:custClr>
    <a:custClr name="30% Dark Blue">
      <a:srgbClr val="B2D4E6"/>
    </a:custClr>
  </a:custClrLst>
  <a:extLst>
    <a:ext uri="{05A4C25C-085E-4340-85A3-A5531E510DB2}">
      <thm15:themeFamily xmlns:thm15="http://schemas.microsoft.com/office/thememl/2012/main" name="Ramboll Template MIK adjustments.potx" id="{8AF8F9E4-DE39-4C2B-85B6-4A5686C9C8EC}" vid="{89A0920C-1F3F-4FDF-B731-81363685CBD0}"/>
    </a:ext>
  </a:extLst>
</a:theme>
</file>

<file path=ppt/theme/theme2.xml><?xml version="1.0" encoding="utf-8"?>
<a:theme xmlns:a="http://schemas.openxmlformats.org/drawingml/2006/main" name="Rambøll">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aseTemplate 16-9 UK.potx" id="{99839C17-9291-4D6B-9A70-B923972FEA85}" vid="{497495C2-62DF-4425-B50B-9A17880EC5A0}"/>
    </a:ext>
  </a:extLst>
</a:theme>
</file>

<file path=ppt/theme/theme3.xml><?xml version="1.0" encoding="utf-8"?>
<a:theme xmlns:a="http://schemas.openxmlformats.org/drawingml/2006/main" name="Office Theme">
  <a:themeElements>
    <a:clrScheme name="Ramboll">
      <a:dk1>
        <a:sysClr val="windowText" lastClr="000000"/>
      </a:dk1>
      <a:lt1>
        <a:sysClr val="window" lastClr="FFFFFF"/>
      </a:lt1>
      <a:dk2>
        <a:srgbClr val="009DE0"/>
      </a:dk2>
      <a:lt2>
        <a:srgbClr val="797766"/>
      </a:lt2>
      <a:accent1>
        <a:srgbClr val="A7D3F5"/>
      </a:accent1>
      <a:accent2>
        <a:srgbClr val="5CA551"/>
      </a:accent2>
      <a:accent3>
        <a:srgbClr val="A1BF36"/>
      </a:accent3>
      <a:accent4>
        <a:srgbClr val="C40079"/>
      </a:accent4>
      <a:accent5>
        <a:srgbClr val="C63418"/>
      </a:accent5>
      <a:accent6>
        <a:srgbClr val="D0CFC5"/>
      </a:accent6>
      <a:hlink>
        <a:srgbClr val="0000FF"/>
      </a:hlink>
      <a:folHlink>
        <a:srgbClr val="800080"/>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Black">
      <a:srgbClr val="333333"/>
    </a:custClr>
    <a:custClr name="Dark Grey">
      <a:srgbClr val="797766"/>
    </a:custClr>
    <a:custClr name="Cyan">
      <a:srgbClr val="009DF0"/>
    </a:custClr>
    <a:custClr name="Light Blue">
      <a:srgbClr val="ADDDFF"/>
    </a:custClr>
    <a:custClr name="Green">
      <a:srgbClr val="3AA551"/>
    </a:custClr>
    <a:custClr name="Lime Green">
      <a:srgbClr val="A8D100"/>
    </a:custClr>
    <a:custClr name="Magenta">
      <a:srgbClr val="C40079"/>
    </a:custClr>
    <a:custClr name="Warm Red">
      <a:srgbClr val="C63418"/>
    </a:custClr>
    <a:custClr name="Light Grey">
      <a:srgbClr val="D0CFC9"/>
    </a:custClr>
    <a:custClr name="Dark Blue">
      <a:srgbClr val="006FAD"/>
    </a:custClr>
    <a:custClr name="White">
      <a:srgbClr val="FFFFFF"/>
    </a:custClr>
    <a:custClr name="65% Dark Grey">
      <a:srgbClr val="A8A69B"/>
    </a:custClr>
    <a:custClr name="65% Cyan">
      <a:srgbClr val="59BFF5"/>
    </a:custClr>
    <a:custClr name="65% Light Blue">
      <a:srgbClr val="CAE9FF"/>
    </a:custClr>
    <a:custClr name="65% Green">
      <a:srgbClr val="7FC48E"/>
    </a:custClr>
    <a:custClr name="65% Lime Green">
      <a:srgbClr val="C6E159"/>
    </a:custClr>
    <a:custClr name="65% Magenta">
      <a:srgbClr val="D959A8"/>
    </a:custClr>
    <a:custClr name="65% Warm Red">
      <a:srgbClr val="DA7B69"/>
    </a:custClr>
    <a:custClr name="65% Light Grey">
      <a:srgbClr val="E0E0DC"/>
    </a:custClr>
    <a:custClr name="65% Dark Blue">
      <a:srgbClr val="59A1CA"/>
    </a:custClr>
    <a:custClr name="White">
      <a:srgbClr val="FFFFFF"/>
    </a:custClr>
    <a:custClr name="30% Dark Grey">
      <a:srgbClr val="D7D6D1"/>
    </a:custClr>
    <a:custClr name="30% Cyan">
      <a:srgbClr val="B2E1FA"/>
    </a:custClr>
    <a:custClr name="30% Light Blue">
      <a:srgbClr val="E6F5FF"/>
    </a:custClr>
    <a:custClr name="30% Green">
      <a:srgbClr val="C4E4CA"/>
    </a:custClr>
    <a:custClr name="30% Lime Green">
      <a:srgbClr val="E5F1B2"/>
    </a:custClr>
    <a:custClr name="30% Magenta">
      <a:srgbClr val="EDB2D7"/>
    </a:custClr>
    <a:custClr name="30% Warm Red">
      <a:srgbClr val="EEC2B9"/>
    </a:custClr>
    <a:custClr name="30% Light Grey">
      <a:srgbClr val="F6F6F4"/>
    </a:custClr>
    <a:custClr name="30% Dark Blue">
      <a:srgbClr val="B2D4E6"/>
    </a:custClr>
  </a:custClrLst>
</a:theme>
</file>

<file path=ppt/theme/theme4.xml><?xml version="1.0" encoding="utf-8"?>
<a:theme xmlns:a="http://schemas.openxmlformats.org/drawingml/2006/main" name="Office Theme">
  <a:themeElements>
    <a:clrScheme name="Ramboll">
      <a:dk1>
        <a:sysClr val="windowText" lastClr="000000"/>
      </a:dk1>
      <a:lt1>
        <a:sysClr val="window" lastClr="FFFFFF"/>
      </a:lt1>
      <a:dk2>
        <a:srgbClr val="009DE0"/>
      </a:dk2>
      <a:lt2>
        <a:srgbClr val="797766"/>
      </a:lt2>
      <a:accent1>
        <a:srgbClr val="A7D3F5"/>
      </a:accent1>
      <a:accent2>
        <a:srgbClr val="5CA551"/>
      </a:accent2>
      <a:accent3>
        <a:srgbClr val="A1BF36"/>
      </a:accent3>
      <a:accent4>
        <a:srgbClr val="C40079"/>
      </a:accent4>
      <a:accent5>
        <a:srgbClr val="C63418"/>
      </a:accent5>
      <a:accent6>
        <a:srgbClr val="D0CFC5"/>
      </a:accent6>
      <a:hlink>
        <a:srgbClr val="0000FF"/>
      </a:hlink>
      <a:folHlink>
        <a:srgbClr val="800080"/>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Black">
      <a:srgbClr val="333333"/>
    </a:custClr>
    <a:custClr name="Dark Grey">
      <a:srgbClr val="797766"/>
    </a:custClr>
    <a:custClr name="Cyan">
      <a:srgbClr val="009DF0"/>
    </a:custClr>
    <a:custClr name="Light Blue">
      <a:srgbClr val="ADDDFF"/>
    </a:custClr>
    <a:custClr name="Green">
      <a:srgbClr val="3AA551"/>
    </a:custClr>
    <a:custClr name="Lime Green">
      <a:srgbClr val="A8D100"/>
    </a:custClr>
    <a:custClr name="Magenta">
      <a:srgbClr val="C40079"/>
    </a:custClr>
    <a:custClr name="Warm Red">
      <a:srgbClr val="C63418"/>
    </a:custClr>
    <a:custClr name="Light Grey">
      <a:srgbClr val="D0CFC9"/>
    </a:custClr>
    <a:custClr name="Dark Blue">
      <a:srgbClr val="006FAD"/>
    </a:custClr>
    <a:custClr name="White">
      <a:srgbClr val="FFFFFF"/>
    </a:custClr>
    <a:custClr name="65% Dark Grey">
      <a:srgbClr val="A8A69B"/>
    </a:custClr>
    <a:custClr name="65% Cyan">
      <a:srgbClr val="59BFF5"/>
    </a:custClr>
    <a:custClr name="65% Light Blue">
      <a:srgbClr val="CAE9FF"/>
    </a:custClr>
    <a:custClr name="65% Green">
      <a:srgbClr val="7FC48E"/>
    </a:custClr>
    <a:custClr name="65% Lime Green">
      <a:srgbClr val="C6E159"/>
    </a:custClr>
    <a:custClr name="65% Magenta">
      <a:srgbClr val="D959A8"/>
    </a:custClr>
    <a:custClr name="65% Warm Red">
      <a:srgbClr val="DA7B69"/>
    </a:custClr>
    <a:custClr name="65% Light Grey">
      <a:srgbClr val="E0E0DC"/>
    </a:custClr>
    <a:custClr name="65% Dark Blue">
      <a:srgbClr val="59A1CA"/>
    </a:custClr>
    <a:custClr name="White">
      <a:srgbClr val="FFFFFF"/>
    </a:custClr>
    <a:custClr name="30% Dark Grey">
      <a:srgbClr val="D7D6D1"/>
    </a:custClr>
    <a:custClr name="30% Cyan">
      <a:srgbClr val="B2E1FA"/>
    </a:custClr>
    <a:custClr name="30% Light Blue">
      <a:srgbClr val="E6F5FF"/>
    </a:custClr>
    <a:custClr name="30% Green">
      <a:srgbClr val="C4E4CA"/>
    </a:custClr>
    <a:custClr name="30% Lime Green">
      <a:srgbClr val="E5F1B2"/>
    </a:custClr>
    <a:custClr name="30% Magenta">
      <a:srgbClr val="EDB2D7"/>
    </a:custClr>
    <a:custClr name="30% Warm Red">
      <a:srgbClr val="EEC2B9"/>
    </a:custClr>
    <a:custClr name="30% Light Grey">
      <a:srgbClr val="F6F6F4"/>
    </a:custClr>
    <a:custClr name="30% Dark Blue">
      <a:srgbClr val="B2D4E6"/>
    </a:custClr>
  </a:custClr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4ABBF43-1DE5-401E-9E72-69994FE7A2B3}">
  <we:reference id="wa104380278" version="1.0.0.6" store="en-US" storeType="OMEX"/>
  <we:alternateReferences>
    <we:reference id="WA104380278" version="1.0.0.6" store="WA104380278"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CBF8FD7B84C2634D8B6A78D252E44E04" ma:contentTypeVersion="8" ma:contentTypeDescription="Loo uus dokument" ma:contentTypeScope="" ma:versionID="6f435ebfb57cef8dc580946aef345440">
  <xsd:schema xmlns:xsd="http://www.w3.org/2001/XMLSchema" xmlns:xs="http://www.w3.org/2001/XMLSchema" xmlns:p="http://schemas.microsoft.com/office/2006/metadata/properties" xmlns:ns2="e09743a6-6c6e-4296-b664-83d599c26375" targetNamespace="http://schemas.microsoft.com/office/2006/metadata/properties" ma:root="true" ma:fieldsID="22680c0d2e4d72c32f1e75f183e83ad2" ns2:_="">
    <xsd:import namespace="e09743a6-6c6e-4296-b664-83d599c2637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9743a6-6c6e-4296-b664-83d599c2637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utüüp"/>
        <xsd:element ref="dc:title" minOccurs="0" maxOccurs="1" ma:index="4" ma:displayName="Pealkiri"/>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e09743a6-6c6e-4296-b664-83d599c26375" xsi:nil="true"/>
  </documentManagement>
</p:properties>
</file>

<file path=customXml/itemProps1.xml><?xml version="1.0" encoding="utf-8"?>
<ds:datastoreItem xmlns:ds="http://schemas.openxmlformats.org/officeDocument/2006/customXml" ds:itemID="{8011FDAD-AF70-4132-9F15-FFFDA59454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9743a6-6c6e-4296-b664-83d599c2637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8FDD728-E95D-4C5A-9823-F271C1763CA3}">
  <ds:schemaRefs>
    <ds:schemaRef ds:uri="http://schemas.microsoft.com/sharepoint/v3/contenttype/forms"/>
  </ds:schemaRefs>
</ds:datastoreItem>
</file>

<file path=customXml/itemProps3.xml><?xml version="1.0" encoding="utf-8"?>
<ds:datastoreItem xmlns:ds="http://schemas.openxmlformats.org/officeDocument/2006/customXml" ds:itemID="{194501C5-F6C4-4581-B0AF-EC80E00AAB81}">
  <ds:schemaRefs>
    <ds:schemaRef ds:uri="http://schemas.microsoft.com/office/2006/documentManagement/types"/>
    <ds:schemaRef ds:uri="c34761e7-5f27-4edc-9ae0-f5cfad953343"/>
    <ds:schemaRef ds:uri="http://purl.org/dc/elements/1.1/"/>
    <ds:schemaRef ds:uri="http://schemas.microsoft.com/office/2006/metadata/properties"/>
    <ds:schemaRef ds:uri="cef76e0b-c252-42f8-9ac8-f00d65ace9df"/>
    <ds:schemaRef ds:uri="http://purl.org/dc/terms/"/>
    <ds:schemaRef ds:uri="http://schemas.microsoft.com/office/infopath/2007/PartnerControls"/>
    <ds:schemaRef ds:uri="http://schemas.openxmlformats.org/package/2006/metadata/core-properties"/>
    <ds:schemaRef ds:uri="http://www.w3.org/XML/1998/namespace"/>
    <ds:schemaRef ds:uri="http://purl.org/dc/dcmitype/"/>
    <ds:schemaRef ds:uri="d8ffebfe-9235-4e7f-9e5d-77fc0182be56"/>
    <ds:schemaRef ds:uri="60ca40be-2e68-4ce4-a0b9-63f839db48e5"/>
    <ds:schemaRef ds:uri="e09743a6-6c6e-4296-b664-83d599c26375"/>
  </ds:schemaRefs>
</ds:datastoreItem>
</file>

<file path=docProps/app.xml><?xml version="1.0" encoding="utf-8"?>
<Properties xmlns="http://schemas.openxmlformats.org/officeDocument/2006/extended-properties" xmlns:vt="http://schemas.openxmlformats.org/officeDocument/2006/docPropsVTypes">
  <Template/>
  <TotalTime>1069</TotalTime>
  <Words>917</Words>
  <Application>Microsoft Office PowerPoint</Application>
  <PresentationFormat>Custom</PresentationFormat>
  <Paragraphs>130</Paragraphs>
  <Slides>14</Slides>
  <Notes>10</Notes>
  <HiddenSlides>0</HiddenSlides>
  <MMClips>0</MMClips>
  <ScaleCrop>false</ScaleCrop>
  <HeadingPairs>
    <vt:vector size="4" baseType="variant">
      <vt:variant>
        <vt:lpstr>Theme</vt:lpstr>
      </vt:variant>
      <vt:variant>
        <vt:i4>2</vt:i4>
      </vt:variant>
      <vt:variant>
        <vt:lpstr>Slide Titles</vt:lpstr>
      </vt:variant>
      <vt:variant>
        <vt:i4>14</vt:i4>
      </vt:variant>
    </vt:vector>
  </HeadingPairs>
  <TitlesOfParts>
    <vt:vector size="16" baseType="lpstr">
      <vt:lpstr>Blank</vt:lpstr>
      <vt:lpstr>Rambøll</vt:lpstr>
      <vt:lpstr>Guide  Data Collection Tools</vt:lpstr>
      <vt:lpstr>Programme Authorit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Rambo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mboll</dc:creator>
  <cp:lastModifiedBy>Kats Kivistik</cp:lastModifiedBy>
  <cp:revision>5</cp:revision>
  <dcterms:created xsi:type="dcterms:W3CDTF">2017-10-17T11:00:12Z</dcterms:created>
  <dcterms:modified xsi:type="dcterms:W3CDTF">2024-03-04T19:36: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DocumentInfoFinished">
    <vt:lpwstr>True</vt:lpwstr>
  </property>
  <property fmtid="{D5CDD505-2E9C-101B-9397-08002B2CF9AE}" pid="4" name="CustomerId">
    <vt:lpwstr>ramboll</vt:lpwstr>
  </property>
  <property fmtid="{D5CDD505-2E9C-101B-9397-08002B2CF9AE}" pid="5" name="TemplateId">
    <vt:lpwstr>636486672340117068</vt:lpwstr>
  </property>
  <property fmtid="{D5CDD505-2E9C-101B-9397-08002B2CF9AE}" pid="6" name="UserProfileId">
    <vt:lpwstr>636650178091902266</vt:lpwstr>
  </property>
  <property fmtid="{D5CDD505-2E9C-101B-9397-08002B2CF9AE}" pid="7" name="ContentTypeId">
    <vt:lpwstr>0x010100CBF8FD7B84C2634D8B6A78D252E44E04</vt:lpwstr>
  </property>
  <property fmtid="{D5CDD505-2E9C-101B-9397-08002B2CF9AE}" pid="8" name="Order">
    <vt:r8>161900</vt:r8>
  </property>
  <property fmtid="{D5CDD505-2E9C-101B-9397-08002B2CF9AE}" pid="9" name="xd_Signature">
    <vt:bool>false</vt:bool>
  </property>
  <property fmtid="{D5CDD505-2E9C-101B-9397-08002B2CF9AE}" pid="10" name="xd_ProgID">
    <vt:lpwstr/>
  </property>
  <property fmtid="{D5CDD505-2E9C-101B-9397-08002B2CF9AE}" pid="11" name="ComplianceAssetId">
    <vt:lpwstr/>
  </property>
  <property fmtid="{D5CDD505-2E9C-101B-9397-08002B2CF9AE}" pid="12" name="TemplateUrl">
    <vt:lpwstr/>
  </property>
  <property fmtid="{D5CDD505-2E9C-101B-9397-08002B2CF9AE}" pid="13" name="_ExtendedDescription">
    <vt:lpwstr/>
  </property>
  <property fmtid="{D5CDD505-2E9C-101B-9397-08002B2CF9AE}" pid="14" name="TriggerFlowInfo">
    <vt:lpwstr/>
  </property>
  <property fmtid="{D5CDD505-2E9C-101B-9397-08002B2CF9AE}" pid="15" name="MSIP_Label_20ea7001-5c24-4702-a3ac-e436ccb02747_Enabled">
    <vt:lpwstr>true</vt:lpwstr>
  </property>
  <property fmtid="{D5CDD505-2E9C-101B-9397-08002B2CF9AE}" pid="16" name="MSIP_Label_20ea7001-5c24-4702-a3ac-e436ccb02747_SetDate">
    <vt:lpwstr>2023-10-06T14:45:09Z</vt:lpwstr>
  </property>
  <property fmtid="{D5CDD505-2E9C-101B-9397-08002B2CF9AE}" pid="17" name="MSIP_Label_20ea7001-5c24-4702-a3ac-e436ccb02747_Method">
    <vt:lpwstr>Standard</vt:lpwstr>
  </property>
  <property fmtid="{D5CDD505-2E9C-101B-9397-08002B2CF9AE}" pid="18" name="MSIP_Label_20ea7001-5c24-4702-a3ac-e436ccb02747_Name">
    <vt:lpwstr>Confidential</vt:lpwstr>
  </property>
  <property fmtid="{D5CDD505-2E9C-101B-9397-08002B2CF9AE}" pid="19" name="MSIP_Label_20ea7001-5c24-4702-a3ac-e436ccb02747_SiteId">
    <vt:lpwstr>c8823c91-be81-4f89-b024-6c3dd789c106</vt:lpwstr>
  </property>
  <property fmtid="{D5CDD505-2E9C-101B-9397-08002B2CF9AE}" pid="20" name="MSIP_Label_20ea7001-5c24-4702-a3ac-e436ccb02747_ActionId">
    <vt:lpwstr>27046f68-fc6a-4a6c-82a1-c3fc43a93d02</vt:lpwstr>
  </property>
  <property fmtid="{D5CDD505-2E9C-101B-9397-08002B2CF9AE}" pid="21" name="MSIP_Label_20ea7001-5c24-4702-a3ac-e436ccb02747_ContentBits">
    <vt:lpwstr>2</vt:lpwstr>
  </property>
  <property fmtid="{D5CDD505-2E9C-101B-9397-08002B2CF9AE}" pid="22" name="MediaServiceImageTags">
    <vt:lpwstr/>
  </property>
  <property fmtid="{D5CDD505-2E9C-101B-9397-08002B2CF9AE}" pid="23" name="_SourceUrl">
    <vt:lpwstr/>
  </property>
  <property fmtid="{D5CDD505-2E9C-101B-9397-08002B2CF9AE}" pid="24" name="_SharedFileIndex">
    <vt:lpwstr/>
  </property>
</Properties>
</file>